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Default Extension="wdp" ContentType="image/vnd.ms-photo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90" r:id="rId2"/>
    <p:sldId id="308" r:id="rId3"/>
    <p:sldId id="335" r:id="rId4"/>
    <p:sldId id="324" r:id="rId5"/>
    <p:sldId id="325" r:id="rId6"/>
    <p:sldId id="326" r:id="rId7"/>
    <p:sldId id="337" r:id="rId8"/>
    <p:sldId id="338" r:id="rId9"/>
    <p:sldId id="303" r:id="rId10"/>
    <p:sldId id="297" r:id="rId11"/>
    <p:sldId id="309" r:id="rId12"/>
    <p:sldId id="305" r:id="rId13"/>
    <p:sldId id="306" r:id="rId14"/>
    <p:sldId id="310" r:id="rId15"/>
    <p:sldId id="315" r:id="rId16"/>
    <p:sldId id="323" r:id="rId17"/>
    <p:sldId id="321" r:id="rId18"/>
    <p:sldId id="334" r:id="rId19"/>
    <p:sldId id="317" r:id="rId20"/>
    <p:sldId id="318" r:id="rId21"/>
    <p:sldId id="330" r:id="rId22"/>
    <p:sldId id="331" r:id="rId23"/>
    <p:sldId id="332" r:id="rId24"/>
    <p:sldId id="333" r:id="rId25"/>
    <p:sldId id="320" r:id="rId2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C28B1"/>
    <a:srgbClr val="00BBD4"/>
    <a:srgbClr val="1A237E"/>
    <a:srgbClr val="3F51B5"/>
    <a:srgbClr val="CDDC39"/>
    <a:srgbClr val="2196F3"/>
    <a:srgbClr val="E91D62"/>
    <a:srgbClr val="F54337"/>
    <a:srgbClr val="7E542A"/>
    <a:srgbClr val="99663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6771" autoAdjust="0"/>
    <p:restoredTop sz="94629" autoAdjust="0"/>
  </p:normalViewPr>
  <p:slideViewPr>
    <p:cSldViewPr snapToGrid="0">
      <p:cViewPr varScale="1">
        <p:scale>
          <a:sx n="115" d="100"/>
          <a:sy n="115" d="100"/>
        </p:scale>
        <p:origin x="-330" y="-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27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2034" y="9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2ADAD2-1565-425C-8904-02120E4B2D01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E17D5A-5A86-4146-8DC5-4F922D739E3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12447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17D5A-5A86-4146-8DC5-4F922D739E3C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53760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17D5A-5A86-4146-8DC5-4F922D739E3C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312891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17D5A-5A86-4146-8DC5-4F922D739E3C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19592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17D5A-5A86-4146-8DC5-4F922D739E3C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02240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76602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88124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237288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858" y="1857"/>
          <a:ext cx="1856" cy="1855"/>
        </p:xfrm>
        <a:graphic>
          <a:graphicData uri="http://schemas.openxmlformats.org/presentationml/2006/ole">
            <p:oleObj spid="_x0000_s1080" name="think-cell Slide" r:id="rId4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04778" y="7120680"/>
            <a:ext cx="3855498" cy="13547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86703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23585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968707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439029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46223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8769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59084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79289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10152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24F4F1-DBE4-460B-9594-8BF5FD9D1CE5}" type="datetimeFigureOut">
              <a:rPr lang="ru-RU" smtClean="0"/>
              <a:pPr/>
              <a:t>2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5F3EBE-FE34-4014-B45D-7FCF462C9A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7523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microsoft.com/office/2007/relationships/hdphoto" Target="../media/hdphoto2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0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1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2.jpeg"/><Relationship Id="rId5" Type="http://schemas.openxmlformats.org/officeDocument/2006/relationships/oleObject" Target="../embeddings/oleObject5.bin"/><Relationship Id="rId4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5.jpeg"/><Relationship Id="rId5" Type="http://schemas.openxmlformats.org/officeDocument/2006/relationships/oleObject" Target="../embeddings/oleObject6.bin"/><Relationship Id="rId4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12.wdp"/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7.bin"/><Relationship Id="rId4" Type="http://schemas.openxmlformats.org/officeDocument/2006/relationships/image" Target="../media/image21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1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microsoft.com/office/2007/relationships/hdphoto" Target="../media/hdphoto3.wdp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microsoft.com/office/2007/relationships/hdphoto" Target="../media/hdphoto13.wdp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3.png"/><Relationship Id="rId4" Type="http://schemas.openxmlformats.org/officeDocument/2006/relationships/oleObject" Target="../embeddings/oleObject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1.xml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oleObject" Target="../embeddings/oleObject14.bin"/><Relationship Id="rId4" Type="http://schemas.openxmlformats.org/officeDocument/2006/relationships/image" Target="../media/image3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jpeg"/><Relationship Id="rId4" Type="http://schemas.microsoft.com/office/2007/relationships/hdphoto" Target="../media/hdphoto5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Relationship Id="rId6" Type="http://schemas.microsoft.com/office/2007/relationships/hdphoto" Target="../media/hdphoto7.wdp"/><Relationship Id="rId5" Type="http://schemas.openxmlformats.org/officeDocument/2006/relationships/image" Target="../media/image13.png"/><Relationship Id="rId4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9269" name="think-cell Slide" r:id="rId4" imgW="360" imgH="360" progId="">
              <p:embed/>
            </p:oleObj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12186638" cy="6858002"/>
          </a:xfrm>
          <a:prstGeom prst="rect">
            <a:avLst/>
          </a:prstGeom>
          <a:gradFill>
            <a:gsLst>
              <a:gs pos="97000">
                <a:srgbClr val="2196F3"/>
              </a:gs>
              <a:gs pos="0">
                <a:srgbClr val="0E47A1"/>
              </a:gs>
            </a:gsLst>
            <a:lin ang="7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04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56625" y="5768516"/>
            <a:ext cx="11478752" cy="62733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637" spc="234" dirty="0" smtClean="0">
                <a:solidFill>
                  <a:prstClr val="white">
                    <a:lumMod val="8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ква - 2019 г.</a:t>
            </a:r>
            <a:endParaRPr lang="ru-RU" sz="1637" spc="234" dirty="0">
              <a:solidFill>
                <a:prstClr val="white">
                  <a:lumMod val="8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="" xmlns:a14="http://schemas.microsoft.com/office/drawing/2010/main">
                  <a14:imgLayer r:embed="rId7"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226292" y="-2"/>
            <a:ext cx="7609085" cy="6858002"/>
          </a:xfrm>
          <a:prstGeom prst="parallelogram">
            <a:avLst/>
          </a:prstGeom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" name="Rectangle 2"/>
          <p:cNvSpPr/>
          <p:nvPr/>
        </p:nvSpPr>
        <p:spPr>
          <a:xfrm>
            <a:off x="597258" y="2530611"/>
            <a:ext cx="11594742" cy="1570649"/>
          </a:xfrm>
          <a:prstGeom prst="rect">
            <a:avLst/>
          </a:prstGeom>
          <a:noFill/>
          <a:ln w="12700">
            <a:noFill/>
          </a:ln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000" b="1" kern="1600" spc="1403" dirty="0" smtClean="0">
                <a:solidFill>
                  <a:schemeClr val="bg1">
                    <a:lumMod val="95000"/>
                  </a:schemeClr>
                </a:solidFill>
                <a:latin typeface="Franklin Gothic Heavy" panose="020B0903020102020204" pitchFamily="34" charset="0"/>
                <a:cs typeface="David" panose="020E0502060401010101" pitchFamily="34" charset="-79"/>
              </a:rPr>
              <a:t>СПЕЦИАЛЬНОСТЬ</a:t>
            </a:r>
            <a:r>
              <a:rPr lang="ru-RU" sz="4400" b="1" kern="1600" spc="1403" dirty="0">
                <a:solidFill>
                  <a:schemeClr val="bg1">
                    <a:lumMod val="95000"/>
                  </a:schemeClr>
                </a:solidFill>
                <a:latin typeface="Franklin Gothic Heavy" panose="020B0903020102020204" pitchFamily="34" charset="0"/>
                <a:cs typeface="David" panose="020E0502060401010101" pitchFamily="34" charset="-79"/>
              </a:rPr>
              <a:t/>
            </a:r>
            <a:br>
              <a:rPr lang="ru-RU" sz="4400" b="1" kern="1600" spc="1403" dirty="0">
                <a:solidFill>
                  <a:schemeClr val="bg1">
                    <a:lumMod val="95000"/>
                  </a:schemeClr>
                </a:solidFill>
                <a:latin typeface="Franklin Gothic Heavy" panose="020B0903020102020204" pitchFamily="34" charset="0"/>
                <a:cs typeface="David" panose="020E0502060401010101" pitchFamily="34" charset="-79"/>
              </a:rPr>
            </a:br>
            <a:r>
              <a:rPr lang="ru-RU" sz="8800" b="1" kern="1600" spc="1403" dirty="0" smtClean="0">
                <a:solidFill>
                  <a:schemeClr val="bg1">
                    <a:lumMod val="95000"/>
                  </a:schemeClr>
                </a:solidFill>
                <a:latin typeface="Franklin Gothic Heavy" panose="020B0903020102020204" pitchFamily="34" charset="0"/>
                <a:cs typeface="David" panose="020E0502060401010101" pitchFamily="34" charset="-79"/>
              </a:rPr>
              <a:t>ВОЕННАЯ ЖУРНАЛИСТИКА</a:t>
            </a:r>
            <a:endParaRPr lang="ru-RU" sz="5400" b="1" kern="1600" spc="1403" dirty="0" smtClean="0">
              <a:solidFill>
                <a:schemeClr val="bg1">
                  <a:lumMod val="95000"/>
                </a:schemeClr>
              </a:solidFill>
              <a:latin typeface="Franklin Gothic Heavy" panose="020B0903020102020204" pitchFamily="34" charset="0"/>
              <a:cs typeface="David" panose="020E0502060401010101" pitchFamily="34" charset="-79"/>
            </a:endParaRPr>
          </a:p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000" b="1" kern="1600" spc="1403" dirty="0" smtClean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"/>
          <p:cNvSpPr/>
          <p:nvPr/>
        </p:nvSpPr>
        <p:spPr>
          <a:xfrm>
            <a:off x="351263" y="5248553"/>
            <a:ext cx="8479535" cy="103992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000" b="1" kern="1600" spc="1403" dirty="0" smtClean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1600" spc="400" dirty="0" smtClean="0">
                <a:solidFill>
                  <a:schemeClr val="bg1"/>
                </a:solidFill>
                <a:latin typeface="Book Antiqua" panose="02040602050305030304" pitchFamily="18" charset="0"/>
                <a:ea typeface="Tahoma" panose="020B0604030504040204" pitchFamily="34" charset="0"/>
                <a:cs typeface="Tahoma" panose="020B0604030504040204" pitchFamily="34" charset="0"/>
              </a:rPr>
              <a:t> Военный университет Министерства обороны РФ</a:t>
            </a:r>
          </a:p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kern="1600" spc="400" dirty="0" smtClean="0">
                <a:solidFill>
                  <a:schemeClr val="bg1"/>
                </a:solidFill>
                <a:latin typeface="Book Antiqua" panose="02040602050305030304" pitchFamily="18" charset="0"/>
                <a:ea typeface="Tahoma" panose="020B0604030504040204" pitchFamily="34" charset="0"/>
                <a:cs typeface="Tahoma" panose="020B0604030504040204" pitchFamily="34" charset="0"/>
              </a:rPr>
              <a:t>Факультет военно-политической работы и журналистики</a:t>
            </a:r>
            <a:endParaRPr lang="en-US" sz="1400" b="1" kern="1600" spc="400" dirty="0">
              <a:solidFill>
                <a:schemeClr val="bg1"/>
              </a:solidFill>
              <a:latin typeface="Book Antiqua" panose="02040602050305030304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21561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449178" y="1759539"/>
            <a:ext cx="5149517" cy="459214"/>
          </a:xfrm>
          <a:prstGeom prst="rect">
            <a:avLst/>
          </a:prstGeom>
          <a:solidFill>
            <a:srgbClr val="F73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/>
              <a:t>1. </a:t>
            </a:r>
            <a:r>
              <a:rPr lang="ru-RU" sz="2400" b="1" dirty="0" err="1"/>
              <a:t>Общевоенные</a:t>
            </a:r>
            <a:r>
              <a:rPr lang="ru-RU" sz="2400" b="1" dirty="0"/>
              <a:t> </a:t>
            </a:r>
            <a:r>
              <a:rPr lang="ru-RU" sz="2400" b="1" dirty="0" smtClean="0"/>
              <a:t>дисциплины</a:t>
            </a:r>
            <a:endParaRPr lang="ru-RU" sz="2400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49179" y="224589"/>
            <a:ext cx="5149516" cy="13154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6000"/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чебная программа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Военная журналистика»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ссчитана на 5 лет и </a:t>
            </a:r>
            <a:r>
              <a:rPr lang="ru-RU" sz="2200" b="1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ключае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49178" y="1989147"/>
            <a:ext cx="5149517" cy="1989146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ru-RU" dirty="0"/>
              <a:t>т</a:t>
            </a:r>
            <a:r>
              <a:rPr lang="ru-RU" dirty="0" smtClean="0"/>
              <a:t>актика // связь </a:t>
            </a:r>
            <a:r>
              <a:rPr lang="ru-RU" dirty="0"/>
              <a:t>// РХБЗ </a:t>
            </a:r>
            <a:endParaRPr lang="en-US" dirty="0"/>
          </a:p>
          <a:p>
            <a:pPr marL="0" indent="0">
              <a:buNone/>
            </a:pPr>
            <a:r>
              <a:rPr lang="ru-RU" dirty="0" smtClean="0"/>
              <a:t>военная топография  </a:t>
            </a:r>
            <a:endParaRPr lang="en-US" dirty="0" smtClean="0"/>
          </a:p>
          <a:p>
            <a:pPr marL="0" indent="0">
              <a:buNone/>
            </a:pPr>
            <a:r>
              <a:rPr lang="ru-RU" dirty="0" smtClean="0"/>
              <a:t>медицинская подготовка  </a:t>
            </a:r>
          </a:p>
          <a:p>
            <a:pPr marL="0" indent="0">
              <a:buNone/>
            </a:pPr>
            <a:r>
              <a:rPr lang="ru-RU" dirty="0" smtClean="0"/>
              <a:t>огневая подготовка // изучение уставов </a:t>
            </a:r>
          </a:p>
          <a:p>
            <a:pPr marL="0" indent="0">
              <a:buNone/>
            </a:pPr>
            <a:r>
              <a:rPr lang="ru-RU" dirty="0" smtClean="0"/>
              <a:t>строевая подготовка и пр. </a:t>
            </a:r>
          </a:p>
          <a:p>
            <a:pPr marL="0" indent="0">
              <a:spcBef>
                <a:spcPts val="0"/>
              </a:spcBef>
              <a:buNone/>
            </a:pPr>
            <a:endParaRPr lang="ru-RU" sz="1200" dirty="0" smtClean="0"/>
          </a:p>
          <a:p>
            <a:pPr marL="0" indent="0">
              <a:spcBef>
                <a:spcPts val="0"/>
              </a:spcBef>
              <a:buNone/>
            </a:pPr>
            <a:endParaRPr lang="ru-RU" sz="1200" dirty="0"/>
          </a:p>
          <a:p>
            <a:pPr marL="0" indent="0">
              <a:spcBef>
                <a:spcPts val="0"/>
              </a:spcBef>
              <a:buNone/>
            </a:pPr>
            <a:endParaRPr lang="ru-RU" sz="1200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433136" y="4139013"/>
            <a:ext cx="5149517" cy="561473"/>
          </a:xfrm>
          <a:prstGeom prst="rect">
            <a:avLst/>
          </a:prstGeom>
          <a:gradFill>
            <a:gsLst>
              <a:gs pos="97000">
                <a:schemeClr val="bg1"/>
              </a:gs>
              <a:gs pos="0">
                <a:srgbClr val="C00000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БОЛЕЕ 1 ТЫС. ЧАСОВ ЗАНЯТИЙ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spc="150" dirty="0">
                <a:latin typeface="Arial" panose="020B0604020202020204" pitchFamily="34" charset="0"/>
                <a:cs typeface="Arial" panose="020B0604020202020204" pitchFamily="34" charset="0"/>
              </a:rPr>
              <a:t>за весь период </a:t>
            </a:r>
            <a:r>
              <a:rPr lang="ru-RU" sz="1400" spc="150" dirty="0" smtClean="0">
                <a:latin typeface="Arial" panose="020B0604020202020204" pitchFamily="34" charset="0"/>
                <a:cs typeface="Arial" panose="020B0604020202020204" pitchFamily="34" charset="0"/>
              </a:rPr>
              <a:t>обучения</a:t>
            </a:r>
            <a:endParaRPr lang="ru-RU" sz="1400" spc="1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49178" y="4882341"/>
            <a:ext cx="5181600" cy="19756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spc="150" dirty="0" smtClean="0">
                <a:solidFill>
                  <a:schemeClr val="tx1"/>
                </a:solidFill>
              </a:rPr>
              <a:t>по </a:t>
            </a:r>
            <a:r>
              <a:rPr lang="ru-RU" sz="2000" spc="150" dirty="0">
                <a:solidFill>
                  <a:schemeClr val="tx1"/>
                </a:solidFill>
              </a:rPr>
              <a:t>стрельбе</a:t>
            </a:r>
            <a:r>
              <a:rPr lang="ru-RU" spc="150" dirty="0">
                <a:solidFill>
                  <a:schemeClr val="tx1"/>
                </a:solidFill>
              </a:rPr>
              <a:t>:</a:t>
            </a:r>
          </a:p>
          <a:p>
            <a:r>
              <a:rPr lang="en-US" sz="1600" dirty="0">
                <a:solidFill>
                  <a:schemeClr val="tx1"/>
                </a:solidFill>
              </a:rPr>
              <a:t>[</a:t>
            </a:r>
            <a:r>
              <a:rPr lang="ru-RU" sz="1600" dirty="0">
                <a:solidFill>
                  <a:schemeClr val="tx1"/>
                </a:solidFill>
              </a:rPr>
              <a:t>автомат Калашникова АК74М</a:t>
            </a:r>
            <a:r>
              <a:rPr lang="en-US" sz="1600" dirty="0">
                <a:solidFill>
                  <a:schemeClr val="tx1"/>
                </a:solidFill>
              </a:rPr>
              <a:t>]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[</a:t>
            </a:r>
            <a:r>
              <a:rPr lang="ru-RU" sz="1600" dirty="0">
                <a:solidFill>
                  <a:schemeClr val="tx1"/>
                </a:solidFill>
              </a:rPr>
              <a:t>гранатомет РПГ-7</a:t>
            </a:r>
            <a:r>
              <a:rPr lang="en-US" sz="1600" dirty="0">
                <a:solidFill>
                  <a:schemeClr val="tx1"/>
                </a:solidFill>
              </a:rPr>
              <a:t>]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[</a:t>
            </a:r>
            <a:r>
              <a:rPr lang="ru-RU" sz="1600" dirty="0">
                <a:solidFill>
                  <a:schemeClr val="tx1"/>
                </a:solidFill>
              </a:rPr>
              <a:t>пулемет Калашникова РПК</a:t>
            </a:r>
            <a:r>
              <a:rPr lang="en-US" sz="1600" dirty="0">
                <a:solidFill>
                  <a:schemeClr val="tx1"/>
                </a:solidFill>
              </a:rPr>
              <a:t>][</a:t>
            </a:r>
            <a:r>
              <a:rPr lang="ru-RU" sz="1600" dirty="0">
                <a:solidFill>
                  <a:schemeClr val="tx1"/>
                </a:solidFill>
              </a:rPr>
              <a:t>танковый пулемет ПКТ</a:t>
            </a:r>
            <a:r>
              <a:rPr lang="en-US" sz="1600" dirty="0">
                <a:solidFill>
                  <a:schemeClr val="tx1"/>
                </a:solidFill>
              </a:rPr>
              <a:t>] </a:t>
            </a:r>
            <a:r>
              <a:rPr lang="ru-RU" sz="1600" dirty="0">
                <a:solidFill>
                  <a:schemeClr val="tx1"/>
                </a:solidFill>
              </a:rPr>
              <a:t/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[</a:t>
            </a:r>
            <a:r>
              <a:rPr lang="ru-RU" sz="1600" dirty="0">
                <a:solidFill>
                  <a:schemeClr val="tx1"/>
                </a:solidFill>
              </a:rPr>
              <a:t>снайперская винтовка СВД</a:t>
            </a:r>
            <a:r>
              <a:rPr lang="en-US" sz="1600" dirty="0">
                <a:solidFill>
                  <a:schemeClr val="tx1"/>
                </a:solidFill>
              </a:rPr>
              <a:t>]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[</a:t>
            </a:r>
            <a:r>
              <a:rPr lang="ru-RU" sz="1600" dirty="0">
                <a:solidFill>
                  <a:schemeClr val="tx1"/>
                </a:solidFill>
              </a:rPr>
              <a:t>пистолет Макарова ПМ</a:t>
            </a:r>
            <a:r>
              <a:rPr lang="en-US" sz="1600" dirty="0">
                <a:solidFill>
                  <a:schemeClr val="tx1"/>
                </a:solidFill>
              </a:rPr>
              <a:t>]</a:t>
            </a:r>
            <a:endParaRPr lang="ru-RU" sz="1600" dirty="0">
              <a:solidFill>
                <a:schemeClr val="tx1"/>
              </a:solidFill>
            </a:endParaRPr>
          </a:p>
          <a:p>
            <a:r>
              <a:rPr lang="ru-RU" sz="2000" spc="150" dirty="0">
                <a:solidFill>
                  <a:schemeClr val="tx1"/>
                </a:solidFill>
              </a:rPr>
              <a:t>по метанию гранат</a:t>
            </a:r>
          </a:p>
          <a:p>
            <a:r>
              <a:rPr lang="ru-RU" sz="2000" spc="150" dirty="0">
                <a:solidFill>
                  <a:schemeClr val="tx1"/>
                </a:solidFill>
              </a:rPr>
              <a:t>по вождению боевой техники</a:t>
            </a:r>
            <a:endParaRPr lang="ru-RU" spc="150" dirty="0">
              <a:solidFill>
                <a:schemeClr val="tx1"/>
              </a:solidFill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организованы выезды на полигоны и стрельбища</a:t>
            </a:r>
            <a:endParaRPr lang="ru-RU" sz="2400" dirty="0">
              <a:solidFill>
                <a:schemeClr val="tx1"/>
              </a:solidFill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t="-4061"/>
          <a:stretch/>
        </p:blipFill>
        <p:spPr>
          <a:xfrm>
            <a:off x="4919440" y="-285008"/>
            <a:ext cx="7887649" cy="7143008"/>
          </a:xfrm>
          <a:prstGeom prst="parallelogram">
            <a:avLst/>
          </a:prstGeom>
          <a:effectLst>
            <a:outerShdw blurRad="152400" dist="38100" dir="10800000" algn="r" rotWithShape="0">
              <a:prstClr val="black">
                <a:alpha val="3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806799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449178" y="1759539"/>
            <a:ext cx="5149517" cy="45921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 smtClean="0"/>
              <a:t>2. </a:t>
            </a:r>
            <a:r>
              <a:rPr lang="ru-RU" sz="2400" b="1" dirty="0" err="1" smtClean="0"/>
              <a:t>Автоподготовка</a:t>
            </a:r>
            <a:endParaRPr lang="ru-RU" sz="2400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49179" y="224589"/>
            <a:ext cx="5149516" cy="13154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6000"/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чебная программа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Военная журналистика»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ссчитана на 5 лет и </a:t>
            </a:r>
            <a:r>
              <a:rPr lang="ru-RU" sz="2200" b="1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ключае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49179" y="2887579"/>
            <a:ext cx="4459706" cy="29998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х курсантов в рамках занятий обучают </a:t>
            </a:r>
            <a:r>
              <a:rPr lang="ru-RU" sz="2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ждению </a:t>
            </a:r>
            <a:r>
              <a:rPr lang="ru-RU" sz="24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гкового автомобиля.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завершении обучения и </a:t>
            </a:r>
            <a:r>
              <a:rPr lang="ru-RU" sz="2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успешной сдачи </a:t>
            </a:r>
            <a:r>
              <a:rPr lang="ru-RU" sz="24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заменов они получают права </a:t>
            </a:r>
            <a:r>
              <a:rPr lang="ru-RU" sz="2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кат. «С</a:t>
            </a:r>
            <a:r>
              <a:rPr lang="ru-RU" sz="24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700337" y="0"/>
            <a:ext cx="8149389" cy="6978316"/>
          </a:xfrm>
          <a:prstGeom prst="parallelogram">
            <a:avLst/>
          </a:prstGeom>
          <a:effectLst>
            <a:outerShdw blurRad="152400" dist="38100" dir="10800000" algn="r" rotWithShape="0">
              <a:prstClr val="black">
                <a:alpha val="3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541012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449178" y="1759539"/>
            <a:ext cx="5149517" cy="80719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rgbClr val="820E0E"/>
                </a:solidFill>
              </a:rPr>
              <a:t>3. Общегуманитарные и </a:t>
            </a:r>
            <a:r>
              <a:rPr lang="ru-RU" sz="2400" b="1" dirty="0" smtClean="0">
                <a:solidFill>
                  <a:srgbClr val="820E0E"/>
                </a:solidFill>
              </a:rPr>
              <a:t>социально- </a:t>
            </a:r>
          </a:p>
          <a:p>
            <a:r>
              <a:rPr lang="ru-RU" sz="2400" b="1" dirty="0">
                <a:solidFill>
                  <a:srgbClr val="820E0E"/>
                </a:solidFill>
              </a:rPr>
              <a:t> </a:t>
            </a:r>
            <a:r>
              <a:rPr lang="ru-RU" sz="2400" b="1" dirty="0" smtClean="0">
                <a:solidFill>
                  <a:srgbClr val="820E0E"/>
                </a:solidFill>
              </a:rPr>
              <a:t>    экономические дисциплины</a:t>
            </a:r>
            <a:endParaRPr lang="ru-RU" sz="2400" b="1" dirty="0">
              <a:solidFill>
                <a:srgbClr val="820E0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49179" y="224589"/>
            <a:ext cx="5149516" cy="13154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6000"/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чебная программа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Военная журналистика»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ссчитана на 5 лет и </a:t>
            </a:r>
            <a:r>
              <a:rPr lang="ru-RU" sz="2200" b="1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ключает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449177" y="5935729"/>
            <a:ext cx="5149517" cy="561473"/>
          </a:xfrm>
          <a:prstGeom prst="rect">
            <a:avLst/>
          </a:prstGeom>
          <a:gradFill>
            <a:gsLst>
              <a:gs pos="97000">
                <a:schemeClr val="bg1"/>
              </a:gs>
              <a:gs pos="0">
                <a:schemeClr val="bg1">
                  <a:lumMod val="65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многим предметам проводятся межуниверситетские олимпиады</a:t>
            </a:r>
            <a:endParaRPr lang="ru-RU" sz="1400" spc="15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Объект 2"/>
          <p:cNvSpPr>
            <a:spLocks noGrp="1"/>
          </p:cNvSpPr>
          <p:nvPr>
            <p:ph idx="1"/>
          </p:nvPr>
        </p:nvSpPr>
        <p:spPr>
          <a:xfrm>
            <a:off x="449177" y="1985210"/>
            <a:ext cx="5082653" cy="272715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ru-RU" sz="3600" dirty="0" smtClean="0"/>
              <a:t> </a:t>
            </a:r>
            <a:endParaRPr lang="en-US" sz="3600" dirty="0" smtClean="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стория России // философи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усский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язык // психология</a:t>
            </a:r>
            <a:b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ностранный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яз. (англ., нем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математика // экономика </a:t>
            </a:r>
            <a:b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оенная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стори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 др.</a:t>
            </a:r>
            <a:endParaRPr lang="ru-RU" sz="1600" dirty="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ru-RU" sz="1600" dirty="0" smtClean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t="-905" r="-4157"/>
          <a:stretch/>
        </p:blipFill>
        <p:spPr>
          <a:xfrm>
            <a:off x="4654905" y="-148390"/>
            <a:ext cx="8242947" cy="7154779"/>
          </a:xfrm>
          <a:prstGeom prst="parallelogram">
            <a:avLst/>
          </a:prstGeom>
          <a:effectLst>
            <a:outerShdw blurRad="152400" dist="38100" dir="10800000" algn="r" rotWithShape="0">
              <a:prstClr val="black">
                <a:alpha val="3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808009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449178" y="1759539"/>
            <a:ext cx="5149517" cy="44639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4. Физическая подготовк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49179" y="224589"/>
            <a:ext cx="5149516" cy="13154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6000"/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чебная программа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Военная журналистика»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ссчитана на 5 лет и </a:t>
            </a:r>
            <a:r>
              <a:rPr lang="ru-RU" sz="2200" b="1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ключает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449178" y="5871411"/>
            <a:ext cx="5149517" cy="834190"/>
          </a:xfrm>
          <a:prstGeom prst="rect">
            <a:avLst/>
          </a:prstGeom>
          <a:gradFill>
            <a:gsLst>
              <a:gs pos="97000">
                <a:schemeClr val="bg1"/>
              </a:gs>
              <a:gs pos="0">
                <a:schemeClr val="accent1">
                  <a:lumMod val="50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одятся  различные </a:t>
            </a:r>
          </a:p>
          <a:p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университетские </a:t>
            </a:r>
          </a:p>
          <a:p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ревнования</a:t>
            </a:r>
            <a:endParaRPr lang="ru-RU" sz="1400" spc="1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Объект 2"/>
          <p:cNvSpPr>
            <a:spLocks noGrp="1"/>
          </p:cNvSpPr>
          <p:nvPr>
            <p:ph idx="1"/>
          </p:nvPr>
        </p:nvSpPr>
        <p:spPr>
          <a:xfrm>
            <a:off x="449177" y="1759538"/>
            <a:ext cx="5082653" cy="3959474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ru-RU" sz="1000" dirty="0" smtClean="0"/>
          </a:p>
          <a:p>
            <a:pPr marL="0" indent="0">
              <a:lnSpc>
                <a:spcPct val="150000"/>
              </a:lnSpc>
              <a:buNone/>
            </a:pPr>
            <a:endParaRPr lang="ru-RU" sz="1000" dirty="0"/>
          </a:p>
          <a:p>
            <a:pPr marL="0" indent="0">
              <a:lnSpc>
                <a:spcPct val="150000"/>
              </a:lnSpc>
              <a:buNone/>
            </a:pPr>
            <a:endParaRPr lang="en-US" sz="1000" dirty="0" smtClean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ыполнение индивидуальных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жнений</a:t>
            </a:r>
          </a:p>
          <a:p>
            <a:pPr marL="0" indent="0">
              <a:lnSpc>
                <a:spcPct val="200000"/>
              </a:lnSpc>
              <a:spcBef>
                <a:spcPts val="0"/>
              </a:spcBef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гровые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иды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порта </a:t>
            </a:r>
          </a:p>
          <a:p>
            <a:pPr marL="0" indent="0">
              <a:lnSpc>
                <a:spcPct val="200000"/>
              </a:lnSpc>
              <a:spcBef>
                <a:spcPts val="0"/>
              </a:spcBef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оенно-прикладные виды спорта</a:t>
            </a:r>
            <a:endParaRPr lang="ru-RU" sz="1600" dirty="0" smtClea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5037221" y="-24063"/>
            <a:ext cx="7716254" cy="6882063"/>
          </a:xfrm>
          <a:prstGeom prst="parallelogram">
            <a:avLst/>
          </a:prstGeom>
          <a:effectLst>
            <a:outerShdw blurRad="152400" dist="38100" dir="10800000" algn="r" rotWithShape="0">
              <a:prstClr val="black">
                <a:alpha val="3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584692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449178" y="1759539"/>
            <a:ext cx="5149517" cy="446399"/>
          </a:xfrm>
          <a:prstGeom prst="rect">
            <a:avLst/>
          </a:prstGeom>
          <a:solidFill>
            <a:srgbClr val="008B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chemeClr val="bg1"/>
                </a:solidFill>
              </a:rPr>
              <a:t>5</a:t>
            </a:r>
            <a:r>
              <a:rPr lang="ru-RU" sz="2400" b="1" dirty="0" smtClean="0">
                <a:solidFill>
                  <a:schemeClr val="bg1"/>
                </a:solidFill>
              </a:rPr>
              <a:t>. </a:t>
            </a:r>
            <a:r>
              <a:rPr lang="ru-RU" sz="2400" b="1" dirty="0">
                <a:solidFill>
                  <a:schemeClr val="bg1"/>
                </a:solidFill>
              </a:rPr>
              <a:t>Специальные </a:t>
            </a:r>
            <a:r>
              <a:rPr lang="ru-RU" sz="2400" b="1" dirty="0" smtClean="0">
                <a:solidFill>
                  <a:schemeClr val="bg1"/>
                </a:solidFill>
              </a:rPr>
              <a:t>дисциплины 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49179" y="224589"/>
            <a:ext cx="5149516" cy="13154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6000"/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чебная программа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Военная журналистика» </a:t>
            </a:r>
            <a: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n-US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ссчитана на 5 лет и </a:t>
            </a:r>
            <a:r>
              <a:rPr lang="ru-RU" sz="2200" b="1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ключает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бъект 2"/>
          <p:cNvSpPr>
            <a:spLocks noGrp="1"/>
          </p:cNvSpPr>
          <p:nvPr>
            <p:ph idx="1"/>
          </p:nvPr>
        </p:nvSpPr>
        <p:spPr>
          <a:xfrm>
            <a:off x="449178" y="2885180"/>
            <a:ext cx="5082653" cy="3293577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ru-RU" sz="2000" i="1" dirty="0">
                <a:latin typeface="Arial" panose="020B0604020202020204" pitchFamily="34" charset="0"/>
                <a:cs typeface="Arial" panose="020B0604020202020204" pitchFamily="34" charset="0"/>
              </a:rPr>
              <a:t>Основные направления</a:t>
            </a:r>
            <a:r>
              <a:rPr lang="ru-RU" sz="2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US" sz="20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spcBef>
                <a:spcPts val="1200"/>
              </a:spcBef>
              <a:buNone/>
            </a:pPr>
            <a:r>
              <a:rPr lang="ru-RU" sz="2400" spc="120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2400" spc="120" dirty="0" smtClean="0">
                <a:latin typeface="Arial" panose="020B0604020202020204" pitchFamily="34" charset="0"/>
                <a:cs typeface="Arial" panose="020B0604020202020204" pitchFamily="34" charset="0"/>
              </a:rPr>
              <a:t>ишущая журналистика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2400" spc="12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2400" spc="120" dirty="0" smtClean="0">
                <a:latin typeface="Arial" panose="020B0604020202020204" pitchFamily="34" charset="0"/>
                <a:cs typeface="Arial" panose="020B0604020202020204" pitchFamily="34" charset="0"/>
              </a:rPr>
              <a:t>абота с фото и видео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2400" spc="120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2400" spc="120" dirty="0" smtClean="0">
                <a:latin typeface="Arial" panose="020B0604020202020204" pitchFamily="34" charset="0"/>
                <a:cs typeface="Arial" panose="020B0604020202020204" pitchFamily="34" charset="0"/>
              </a:rPr>
              <a:t>роизводство газет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2400" spc="120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одействие со СМИ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2400" spc="12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2400" spc="120" dirty="0" smtClean="0">
                <a:latin typeface="Arial" panose="020B0604020202020204" pitchFamily="34" charset="0"/>
                <a:cs typeface="Arial" panose="020B0604020202020204" pitchFamily="34" charset="0"/>
              </a:rPr>
              <a:t>вязи с общественностью</a:t>
            </a:r>
            <a:endParaRPr lang="ru-RU" sz="1600" spc="120" dirty="0" smtClean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 l="-226"/>
          <a:stretch/>
        </p:blipFill>
        <p:spPr>
          <a:xfrm>
            <a:off x="5069307" y="-12031"/>
            <a:ext cx="7956882" cy="6882062"/>
          </a:xfrm>
          <a:prstGeom prst="parallelogram">
            <a:avLst/>
          </a:prstGeom>
          <a:effectLst>
            <a:outerShdw blurRad="152400" dist="38100" dir="10800000" algn="r" rotWithShape="0">
              <a:prstClr val="black">
                <a:alpha val="3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587886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1235754"/>
            <a:ext cx="12192000" cy="5600700"/>
          </a:xfrm>
          <a:prstGeom prst="rect">
            <a:avLst/>
          </a:prstGeom>
          <a:blipFill dpi="0" rotWithShape="1">
            <a:blip r:embed="rId2" cstate="email">
              <a:alphaModFix amt="30000"/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 b="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480394" y="543895"/>
            <a:ext cx="10447815" cy="446399"/>
          </a:xfrm>
          <a:prstGeom prst="rect">
            <a:avLst/>
          </a:prstGeom>
          <a:gradFill>
            <a:gsLst>
              <a:gs pos="97000">
                <a:schemeClr val="bg1"/>
              </a:gs>
              <a:gs pos="0">
                <a:srgbClr val="008B9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</a:rPr>
              <a:t>5. </a:t>
            </a:r>
            <a:r>
              <a:rPr lang="ru-RU" sz="2400" b="1" dirty="0">
                <a:solidFill>
                  <a:schemeClr val="bg1"/>
                </a:solidFill>
              </a:rPr>
              <a:t>Специальные </a:t>
            </a:r>
            <a:r>
              <a:rPr lang="ru-RU" sz="2400" b="1" dirty="0" smtClean="0">
                <a:solidFill>
                  <a:schemeClr val="bg1"/>
                </a:solidFill>
              </a:rPr>
              <a:t>дисциплины </a:t>
            </a:r>
            <a:endParaRPr lang="ru-RU" sz="2400" b="1" dirty="0">
              <a:solidFill>
                <a:schemeClr val="bg1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274984" y="1676931"/>
            <a:ext cx="11661202" cy="4758343"/>
            <a:chOff x="274984" y="1676931"/>
            <a:chExt cx="11661202" cy="4758343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274984" y="1676931"/>
              <a:ext cx="5724405" cy="658054"/>
              <a:chOff x="346113" y="1676931"/>
              <a:chExt cx="5607264" cy="658054"/>
            </a:xfrm>
          </p:grpSpPr>
          <p:sp>
            <p:nvSpPr>
              <p:cNvPr id="2" name="Прямоугольник 1"/>
              <p:cNvSpPr/>
              <p:nvPr/>
            </p:nvSpPr>
            <p:spPr>
              <a:xfrm>
                <a:off x="346113" y="1676931"/>
                <a:ext cx="5607264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Современные информационные технологии</a:t>
                </a:r>
              </a:p>
            </p:txBody>
          </p:sp>
          <p:sp>
            <p:nvSpPr>
              <p:cNvPr id="8" name="Freeform 53"/>
              <p:cNvSpPr>
                <a:spLocks/>
              </p:cNvSpPr>
              <p:nvPr/>
            </p:nvSpPr>
            <p:spPr bwMode="auto">
              <a:xfrm>
                <a:off x="549969" y="1819200"/>
                <a:ext cx="619124" cy="373516"/>
              </a:xfrm>
              <a:custGeom>
                <a:avLst/>
                <a:gdLst>
                  <a:gd name="T0" fmla="*/ 160 w 192"/>
                  <a:gd name="T1" fmla="*/ 64 h 128"/>
                  <a:gd name="T2" fmla="*/ 96 w 192"/>
                  <a:gd name="T3" fmla="*/ 0 h 128"/>
                  <a:gd name="T4" fmla="*/ 34 w 192"/>
                  <a:gd name="T5" fmla="*/ 48 h 128"/>
                  <a:gd name="T6" fmla="*/ 0 w 192"/>
                  <a:gd name="T7" fmla="*/ 88 h 128"/>
                  <a:gd name="T8" fmla="*/ 40 w 192"/>
                  <a:gd name="T9" fmla="*/ 128 h 128"/>
                  <a:gd name="T10" fmla="*/ 72 w 192"/>
                  <a:gd name="T11" fmla="*/ 128 h 128"/>
                  <a:gd name="T12" fmla="*/ 80 w 192"/>
                  <a:gd name="T13" fmla="*/ 120 h 128"/>
                  <a:gd name="T14" fmla="*/ 80 w 192"/>
                  <a:gd name="T15" fmla="*/ 98 h 128"/>
                  <a:gd name="T16" fmla="*/ 74 w 192"/>
                  <a:gd name="T17" fmla="*/ 92 h 128"/>
                  <a:gd name="T18" fmla="*/ 62 w 192"/>
                  <a:gd name="T19" fmla="*/ 92 h 128"/>
                  <a:gd name="T20" fmla="*/ 58 w 192"/>
                  <a:gd name="T21" fmla="*/ 83 h 128"/>
                  <a:gd name="T22" fmla="*/ 89 w 192"/>
                  <a:gd name="T23" fmla="*/ 44 h 128"/>
                  <a:gd name="T24" fmla="*/ 103 w 192"/>
                  <a:gd name="T25" fmla="*/ 44 h 128"/>
                  <a:gd name="T26" fmla="*/ 134 w 192"/>
                  <a:gd name="T27" fmla="*/ 83 h 128"/>
                  <a:gd name="T28" fmla="*/ 131 w 192"/>
                  <a:gd name="T29" fmla="*/ 92 h 128"/>
                  <a:gd name="T30" fmla="*/ 118 w 192"/>
                  <a:gd name="T31" fmla="*/ 92 h 128"/>
                  <a:gd name="T32" fmla="*/ 112 w 192"/>
                  <a:gd name="T33" fmla="*/ 98 h 128"/>
                  <a:gd name="T34" fmla="*/ 112 w 192"/>
                  <a:gd name="T35" fmla="*/ 120 h 128"/>
                  <a:gd name="T36" fmla="*/ 120 w 192"/>
                  <a:gd name="T37" fmla="*/ 128 h 128"/>
                  <a:gd name="T38" fmla="*/ 160 w 192"/>
                  <a:gd name="T39" fmla="*/ 128 h 128"/>
                  <a:gd name="T40" fmla="*/ 192 w 192"/>
                  <a:gd name="T41" fmla="*/ 96 h 128"/>
                  <a:gd name="T42" fmla="*/ 160 w 192"/>
                  <a:gd name="T43" fmla="*/ 64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92" h="128">
                    <a:moveTo>
                      <a:pt x="160" y="64"/>
                    </a:moveTo>
                    <a:cubicBezTo>
                      <a:pt x="160" y="28"/>
                      <a:pt x="132" y="0"/>
                      <a:pt x="96" y="0"/>
                    </a:cubicBezTo>
                    <a:cubicBezTo>
                      <a:pt x="66" y="0"/>
                      <a:pt x="41" y="20"/>
                      <a:pt x="34" y="48"/>
                    </a:cubicBezTo>
                    <a:cubicBezTo>
                      <a:pt x="15" y="51"/>
                      <a:pt x="0" y="68"/>
                      <a:pt x="0" y="88"/>
                    </a:cubicBezTo>
                    <a:cubicBezTo>
                      <a:pt x="0" y="110"/>
                      <a:pt x="18" y="128"/>
                      <a:pt x="40" y="128"/>
                    </a:cubicBezTo>
                    <a:cubicBezTo>
                      <a:pt x="72" y="128"/>
                      <a:pt x="72" y="128"/>
                      <a:pt x="72" y="128"/>
                    </a:cubicBezTo>
                    <a:cubicBezTo>
                      <a:pt x="77" y="128"/>
                      <a:pt x="80" y="124"/>
                      <a:pt x="80" y="120"/>
                    </a:cubicBezTo>
                    <a:cubicBezTo>
                      <a:pt x="80" y="98"/>
                      <a:pt x="80" y="98"/>
                      <a:pt x="80" y="98"/>
                    </a:cubicBezTo>
                    <a:cubicBezTo>
                      <a:pt x="80" y="95"/>
                      <a:pt x="78" y="92"/>
                      <a:pt x="74" y="92"/>
                    </a:cubicBezTo>
                    <a:cubicBezTo>
                      <a:pt x="62" y="92"/>
                      <a:pt x="62" y="92"/>
                      <a:pt x="62" y="92"/>
                    </a:cubicBezTo>
                    <a:cubicBezTo>
                      <a:pt x="56" y="92"/>
                      <a:pt x="55" y="88"/>
                      <a:pt x="58" y="83"/>
                    </a:cubicBezTo>
                    <a:cubicBezTo>
                      <a:pt x="89" y="44"/>
                      <a:pt x="89" y="44"/>
                      <a:pt x="89" y="44"/>
                    </a:cubicBezTo>
                    <a:cubicBezTo>
                      <a:pt x="93" y="39"/>
                      <a:pt x="100" y="39"/>
                      <a:pt x="103" y="44"/>
                    </a:cubicBezTo>
                    <a:cubicBezTo>
                      <a:pt x="134" y="83"/>
                      <a:pt x="134" y="83"/>
                      <a:pt x="134" y="83"/>
                    </a:cubicBezTo>
                    <a:cubicBezTo>
                      <a:pt x="138" y="88"/>
                      <a:pt x="137" y="92"/>
                      <a:pt x="131" y="92"/>
                    </a:cubicBezTo>
                    <a:cubicBezTo>
                      <a:pt x="118" y="92"/>
                      <a:pt x="118" y="92"/>
                      <a:pt x="118" y="92"/>
                    </a:cubicBezTo>
                    <a:cubicBezTo>
                      <a:pt x="115" y="92"/>
                      <a:pt x="112" y="95"/>
                      <a:pt x="112" y="98"/>
                    </a:cubicBezTo>
                    <a:cubicBezTo>
                      <a:pt x="112" y="120"/>
                      <a:pt x="112" y="120"/>
                      <a:pt x="112" y="120"/>
                    </a:cubicBezTo>
                    <a:cubicBezTo>
                      <a:pt x="112" y="124"/>
                      <a:pt x="116" y="128"/>
                      <a:pt x="120" y="128"/>
                    </a:cubicBezTo>
                    <a:cubicBezTo>
                      <a:pt x="160" y="128"/>
                      <a:pt x="160" y="128"/>
                      <a:pt x="160" y="128"/>
                    </a:cubicBezTo>
                    <a:cubicBezTo>
                      <a:pt x="178" y="128"/>
                      <a:pt x="192" y="114"/>
                      <a:pt x="192" y="96"/>
                    </a:cubicBezTo>
                    <a:cubicBezTo>
                      <a:pt x="192" y="78"/>
                      <a:pt x="178" y="64"/>
                      <a:pt x="160" y="64"/>
                    </a:cubicBezTo>
                    <a:close/>
                  </a:path>
                </a:pathLst>
              </a:custGeom>
              <a:solidFill>
                <a:srgbClr val="038D9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5" name="Группа 74"/>
            <p:cNvGrpSpPr/>
            <p:nvPr/>
          </p:nvGrpSpPr>
          <p:grpSpPr>
            <a:xfrm>
              <a:off x="6157233" y="1676931"/>
              <a:ext cx="5778953" cy="658054"/>
              <a:chOff x="6157233" y="1676931"/>
              <a:chExt cx="5778953" cy="658054"/>
            </a:xfrm>
          </p:grpSpPr>
          <p:sp>
            <p:nvSpPr>
              <p:cNvPr id="15" name="Прямоугольник 14"/>
              <p:cNvSpPr/>
              <p:nvPr/>
            </p:nvSpPr>
            <p:spPr>
              <a:xfrm>
                <a:off x="6157233" y="1676931"/>
                <a:ext cx="5778953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Теория и практика связей с общественностью</a:t>
                </a:r>
              </a:p>
            </p:txBody>
          </p:sp>
          <p:sp>
            <p:nvSpPr>
              <p:cNvPr id="55" name="Freeform 135"/>
              <p:cNvSpPr>
                <a:spLocks/>
              </p:cNvSpPr>
              <p:nvPr/>
            </p:nvSpPr>
            <p:spPr bwMode="auto">
              <a:xfrm>
                <a:off x="6500467" y="1819200"/>
                <a:ext cx="371807" cy="404838"/>
              </a:xfrm>
              <a:custGeom>
                <a:avLst/>
                <a:gdLst>
                  <a:gd name="T0" fmla="*/ 103 w 157"/>
                  <a:gd name="T1" fmla="*/ 124 h 192"/>
                  <a:gd name="T2" fmla="*/ 128 w 157"/>
                  <a:gd name="T3" fmla="*/ 86 h 192"/>
                  <a:gd name="T4" fmla="*/ 136 w 157"/>
                  <a:gd name="T5" fmla="*/ 67 h 192"/>
                  <a:gd name="T6" fmla="*/ 132 w 157"/>
                  <a:gd name="T7" fmla="*/ 59 h 192"/>
                  <a:gd name="T8" fmla="*/ 80 w 157"/>
                  <a:gd name="T9" fmla="*/ 0 h 192"/>
                  <a:gd name="T10" fmla="*/ 79 w 157"/>
                  <a:gd name="T11" fmla="*/ 0 h 192"/>
                  <a:gd name="T12" fmla="*/ 79 w 157"/>
                  <a:gd name="T13" fmla="*/ 0 h 192"/>
                  <a:gd name="T14" fmla="*/ 26 w 157"/>
                  <a:gd name="T15" fmla="*/ 57 h 192"/>
                  <a:gd name="T16" fmla="*/ 21 w 157"/>
                  <a:gd name="T17" fmla="*/ 67 h 192"/>
                  <a:gd name="T18" fmla="*/ 32 w 157"/>
                  <a:gd name="T19" fmla="*/ 89 h 192"/>
                  <a:gd name="T20" fmla="*/ 54 w 157"/>
                  <a:gd name="T21" fmla="*/ 123 h 192"/>
                  <a:gd name="T22" fmla="*/ 31 w 157"/>
                  <a:gd name="T23" fmla="*/ 150 h 192"/>
                  <a:gd name="T24" fmla="*/ 0 w 157"/>
                  <a:gd name="T25" fmla="*/ 161 h 192"/>
                  <a:gd name="T26" fmla="*/ 78 w 157"/>
                  <a:gd name="T27" fmla="*/ 192 h 192"/>
                  <a:gd name="T28" fmla="*/ 78 w 157"/>
                  <a:gd name="T29" fmla="*/ 192 h 192"/>
                  <a:gd name="T30" fmla="*/ 78 w 157"/>
                  <a:gd name="T31" fmla="*/ 192 h 192"/>
                  <a:gd name="T32" fmla="*/ 157 w 157"/>
                  <a:gd name="T33" fmla="*/ 161 h 192"/>
                  <a:gd name="T34" fmla="*/ 126 w 157"/>
                  <a:gd name="T35" fmla="*/ 150 h 192"/>
                  <a:gd name="T36" fmla="*/ 103 w 157"/>
                  <a:gd name="T37" fmla="*/ 12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7" h="192">
                    <a:moveTo>
                      <a:pt x="103" y="124"/>
                    </a:moveTo>
                    <a:cubicBezTo>
                      <a:pt x="114" y="115"/>
                      <a:pt x="123" y="101"/>
                      <a:pt x="128" y="86"/>
                    </a:cubicBezTo>
                    <a:cubicBezTo>
                      <a:pt x="133" y="80"/>
                      <a:pt x="136" y="73"/>
                      <a:pt x="136" y="67"/>
                    </a:cubicBezTo>
                    <a:cubicBezTo>
                      <a:pt x="136" y="64"/>
                      <a:pt x="134" y="61"/>
                      <a:pt x="132" y="59"/>
                    </a:cubicBezTo>
                    <a:cubicBezTo>
                      <a:pt x="131" y="26"/>
                      <a:pt x="108" y="0"/>
                      <a:pt x="80" y="0"/>
                    </a:cubicBezTo>
                    <a:cubicBezTo>
                      <a:pt x="80" y="0"/>
                      <a:pt x="79" y="0"/>
                      <a:pt x="79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51" y="0"/>
                      <a:pt x="28" y="25"/>
                      <a:pt x="26" y="57"/>
                    </a:cubicBezTo>
                    <a:cubicBezTo>
                      <a:pt x="23" y="60"/>
                      <a:pt x="21" y="63"/>
                      <a:pt x="21" y="67"/>
                    </a:cubicBezTo>
                    <a:cubicBezTo>
                      <a:pt x="21" y="74"/>
                      <a:pt x="25" y="82"/>
                      <a:pt x="32" y="89"/>
                    </a:cubicBezTo>
                    <a:cubicBezTo>
                      <a:pt x="36" y="102"/>
                      <a:pt x="44" y="115"/>
                      <a:pt x="54" y="123"/>
                    </a:cubicBezTo>
                    <a:cubicBezTo>
                      <a:pt x="52" y="132"/>
                      <a:pt x="47" y="143"/>
                      <a:pt x="31" y="150"/>
                    </a:cubicBezTo>
                    <a:cubicBezTo>
                      <a:pt x="22" y="154"/>
                      <a:pt x="6" y="157"/>
                      <a:pt x="0" y="161"/>
                    </a:cubicBezTo>
                    <a:cubicBezTo>
                      <a:pt x="17" y="180"/>
                      <a:pt x="50" y="192"/>
                      <a:pt x="78" y="192"/>
                    </a:cubicBezTo>
                    <a:cubicBezTo>
                      <a:pt x="78" y="192"/>
                      <a:pt x="78" y="192"/>
                      <a:pt x="78" y="192"/>
                    </a:cubicBezTo>
                    <a:cubicBezTo>
                      <a:pt x="78" y="192"/>
                      <a:pt x="78" y="192"/>
                      <a:pt x="78" y="192"/>
                    </a:cubicBezTo>
                    <a:cubicBezTo>
                      <a:pt x="106" y="192"/>
                      <a:pt x="140" y="180"/>
                      <a:pt x="157" y="161"/>
                    </a:cubicBezTo>
                    <a:cubicBezTo>
                      <a:pt x="150" y="157"/>
                      <a:pt x="135" y="154"/>
                      <a:pt x="126" y="150"/>
                    </a:cubicBezTo>
                    <a:cubicBezTo>
                      <a:pt x="111" y="143"/>
                      <a:pt x="105" y="133"/>
                      <a:pt x="103" y="124"/>
                    </a:cubicBezTo>
                    <a:close/>
                  </a:path>
                </a:pathLst>
              </a:custGeom>
              <a:solidFill>
                <a:srgbClr val="048D9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6" name="Группа 75"/>
            <p:cNvGrpSpPr/>
            <p:nvPr/>
          </p:nvGrpSpPr>
          <p:grpSpPr>
            <a:xfrm>
              <a:off x="274984" y="2477254"/>
              <a:ext cx="5724405" cy="658054"/>
              <a:chOff x="274984" y="2477254"/>
              <a:chExt cx="5724405" cy="658054"/>
            </a:xfrm>
          </p:grpSpPr>
          <p:sp>
            <p:nvSpPr>
              <p:cNvPr id="19" name="Прямоугольник 18"/>
              <p:cNvSpPr/>
              <p:nvPr/>
            </p:nvSpPr>
            <p:spPr>
              <a:xfrm>
                <a:off x="274984" y="2477254"/>
                <a:ext cx="5724405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Журналистское мастерство</a:t>
                </a:r>
              </a:p>
            </p:txBody>
          </p:sp>
          <p:grpSp>
            <p:nvGrpSpPr>
              <p:cNvPr id="57" name="Group 362"/>
              <p:cNvGrpSpPr/>
              <p:nvPr/>
            </p:nvGrpSpPr>
            <p:grpSpPr>
              <a:xfrm>
                <a:off x="510748" y="2590243"/>
                <a:ext cx="532800" cy="435600"/>
                <a:chOff x="4033838" y="4352925"/>
                <a:chExt cx="215901" cy="214313"/>
              </a:xfrm>
              <a:solidFill>
                <a:srgbClr val="058DA0"/>
              </a:solidFill>
            </p:grpSpPr>
            <p:sp>
              <p:nvSpPr>
                <p:cNvPr id="58" name="Freeform 255"/>
                <p:cNvSpPr>
                  <a:spLocks/>
                </p:cNvSpPr>
                <p:nvPr/>
              </p:nvSpPr>
              <p:spPr bwMode="auto">
                <a:xfrm>
                  <a:off x="4033838" y="4425950"/>
                  <a:ext cx="142875" cy="141288"/>
                </a:xfrm>
                <a:custGeom>
                  <a:avLst/>
                  <a:gdLst>
                    <a:gd name="T0" fmla="*/ 19 w 98"/>
                    <a:gd name="T1" fmla="*/ 87 h 97"/>
                    <a:gd name="T2" fmla="*/ 22 w 98"/>
                    <a:gd name="T3" fmla="*/ 89 h 97"/>
                    <a:gd name="T4" fmla="*/ 31 w 98"/>
                    <a:gd name="T5" fmla="*/ 89 h 97"/>
                    <a:gd name="T6" fmla="*/ 98 w 98"/>
                    <a:gd name="T7" fmla="*/ 34 h 97"/>
                    <a:gd name="T8" fmla="*/ 76 w 98"/>
                    <a:gd name="T9" fmla="*/ 22 h 97"/>
                    <a:gd name="T10" fmla="*/ 64 w 98"/>
                    <a:gd name="T11" fmla="*/ 0 h 97"/>
                    <a:gd name="T12" fmla="*/ 8 w 98"/>
                    <a:gd name="T13" fmla="*/ 66 h 97"/>
                    <a:gd name="T14" fmla="*/ 8 w 98"/>
                    <a:gd name="T15" fmla="*/ 75 h 97"/>
                    <a:gd name="T16" fmla="*/ 11 w 98"/>
                    <a:gd name="T17" fmla="*/ 78 h 97"/>
                    <a:gd name="T18" fmla="*/ 3 w 98"/>
                    <a:gd name="T19" fmla="*/ 87 h 97"/>
                    <a:gd name="T20" fmla="*/ 3 w 98"/>
                    <a:gd name="T21" fmla="*/ 95 h 97"/>
                    <a:gd name="T22" fmla="*/ 7 w 98"/>
                    <a:gd name="T23" fmla="*/ 97 h 97"/>
                    <a:gd name="T24" fmla="*/ 11 w 98"/>
                    <a:gd name="T25" fmla="*/ 95 h 97"/>
                    <a:gd name="T26" fmla="*/ 19 w 98"/>
                    <a:gd name="T27" fmla="*/ 8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8" h="97">
                      <a:moveTo>
                        <a:pt x="19" y="87"/>
                      </a:moveTo>
                      <a:cubicBezTo>
                        <a:pt x="22" y="89"/>
                        <a:pt x="22" y="89"/>
                        <a:pt x="22" y="89"/>
                      </a:cubicBezTo>
                      <a:cubicBezTo>
                        <a:pt x="24" y="92"/>
                        <a:pt x="29" y="92"/>
                        <a:pt x="31" y="89"/>
                      </a:cubicBezTo>
                      <a:cubicBezTo>
                        <a:pt x="98" y="34"/>
                        <a:pt x="98" y="34"/>
                        <a:pt x="98" y="34"/>
                      </a:cubicBezTo>
                      <a:cubicBezTo>
                        <a:pt x="90" y="32"/>
                        <a:pt x="82" y="28"/>
                        <a:pt x="76" y="22"/>
                      </a:cubicBezTo>
                      <a:cubicBezTo>
                        <a:pt x="70" y="15"/>
                        <a:pt x="66" y="8"/>
                        <a:pt x="64" y="0"/>
                      </a:cubicBezTo>
                      <a:cubicBezTo>
                        <a:pt x="8" y="66"/>
                        <a:pt x="8" y="66"/>
                        <a:pt x="8" y="66"/>
                      </a:cubicBezTo>
                      <a:cubicBezTo>
                        <a:pt x="5" y="68"/>
                        <a:pt x="5" y="73"/>
                        <a:pt x="8" y="75"/>
                      </a:cubicBezTo>
                      <a:cubicBezTo>
                        <a:pt x="11" y="78"/>
                        <a:pt x="11" y="78"/>
                        <a:pt x="11" y="78"/>
                      </a:cubicBezTo>
                      <a:cubicBezTo>
                        <a:pt x="3" y="87"/>
                        <a:pt x="3" y="87"/>
                        <a:pt x="3" y="87"/>
                      </a:cubicBezTo>
                      <a:cubicBezTo>
                        <a:pt x="0" y="89"/>
                        <a:pt x="0" y="93"/>
                        <a:pt x="3" y="95"/>
                      </a:cubicBezTo>
                      <a:cubicBezTo>
                        <a:pt x="4" y="96"/>
                        <a:pt x="5" y="97"/>
                        <a:pt x="7" y="97"/>
                      </a:cubicBezTo>
                      <a:cubicBezTo>
                        <a:pt x="8" y="97"/>
                        <a:pt x="10" y="96"/>
                        <a:pt x="11" y="95"/>
                      </a:cubicBezTo>
                      <a:lnTo>
                        <a:pt x="19" y="8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" name="Freeform 256"/>
                <p:cNvSpPr>
                  <a:spLocks/>
                </p:cNvSpPr>
                <p:nvPr/>
              </p:nvSpPr>
              <p:spPr bwMode="auto">
                <a:xfrm>
                  <a:off x="4143376" y="4370388"/>
                  <a:ext cx="85725" cy="88900"/>
                </a:xfrm>
                <a:custGeom>
                  <a:avLst/>
                  <a:gdLst>
                    <a:gd name="T0" fmla="*/ 10 w 60"/>
                    <a:gd name="T1" fmla="*/ 0 h 62"/>
                    <a:gd name="T2" fmla="*/ 10 w 60"/>
                    <a:gd name="T3" fmla="*/ 0 h 62"/>
                    <a:gd name="T4" fmla="*/ 9 w 60"/>
                    <a:gd name="T5" fmla="*/ 1 h 62"/>
                    <a:gd name="T6" fmla="*/ 8 w 60"/>
                    <a:gd name="T7" fmla="*/ 2 h 62"/>
                    <a:gd name="T8" fmla="*/ 7 w 60"/>
                    <a:gd name="T9" fmla="*/ 3 h 62"/>
                    <a:gd name="T10" fmla="*/ 6 w 60"/>
                    <a:gd name="T11" fmla="*/ 5 h 62"/>
                    <a:gd name="T12" fmla="*/ 5 w 60"/>
                    <a:gd name="T13" fmla="*/ 6 h 62"/>
                    <a:gd name="T14" fmla="*/ 4 w 60"/>
                    <a:gd name="T15" fmla="*/ 8 h 62"/>
                    <a:gd name="T16" fmla="*/ 4 w 60"/>
                    <a:gd name="T17" fmla="*/ 9 h 62"/>
                    <a:gd name="T18" fmla="*/ 3 w 60"/>
                    <a:gd name="T19" fmla="*/ 12 h 62"/>
                    <a:gd name="T20" fmla="*/ 2 w 60"/>
                    <a:gd name="T21" fmla="*/ 13 h 62"/>
                    <a:gd name="T22" fmla="*/ 1 w 60"/>
                    <a:gd name="T23" fmla="*/ 15 h 62"/>
                    <a:gd name="T24" fmla="*/ 1 w 60"/>
                    <a:gd name="T25" fmla="*/ 16 h 62"/>
                    <a:gd name="T26" fmla="*/ 1 w 60"/>
                    <a:gd name="T27" fmla="*/ 18 h 62"/>
                    <a:gd name="T28" fmla="*/ 0 w 60"/>
                    <a:gd name="T29" fmla="*/ 19 h 62"/>
                    <a:gd name="T30" fmla="*/ 0 w 60"/>
                    <a:gd name="T31" fmla="*/ 22 h 62"/>
                    <a:gd name="T32" fmla="*/ 0 w 60"/>
                    <a:gd name="T33" fmla="*/ 23 h 62"/>
                    <a:gd name="T34" fmla="*/ 0 w 60"/>
                    <a:gd name="T35" fmla="*/ 26 h 62"/>
                    <a:gd name="T36" fmla="*/ 0 w 60"/>
                    <a:gd name="T37" fmla="*/ 26 h 62"/>
                    <a:gd name="T38" fmla="*/ 3 w 60"/>
                    <a:gd name="T39" fmla="*/ 39 h 62"/>
                    <a:gd name="T40" fmla="*/ 3 w 60"/>
                    <a:gd name="T41" fmla="*/ 39 h 62"/>
                    <a:gd name="T42" fmla="*/ 4 w 60"/>
                    <a:gd name="T43" fmla="*/ 42 h 62"/>
                    <a:gd name="T44" fmla="*/ 4 w 60"/>
                    <a:gd name="T45" fmla="*/ 42 h 62"/>
                    <a:gd name="T46" fmla="*/ 6 w 60"/>
                    <a:gd name="T47" fmla="*/ 45 h 62"/>
                    <a:gd name="T48" fmla="*/ 6 w 60"/>
                    <a:gd name="T49" fmla="*/ 45 h 62"/>
                    <a:gd name="T50" fmla="*/ 11 w 60"/>
                    <a:gd name="T51" fmla="*/ 51 h 62"/>
                    <a:gd name="T52" fmla="*/ 13 w 60"/>
                    <a:gd name="T53" fmla="*/ 54 h 62"/>
                    <a:gd name="T54" fmla="*/ 13 w 60"/>
                    <a:gd name="T55" fmla="*/ 54 h 62"/>
                    <a:gd name="T56" fmla="*/ 16 w 60"/>
                    <a:gd name="T57" fmla="*/ 56 h 62"/>
                    <a:gd name="T58" fmla="*/ 17 w 60"/>
                    <a:gd name="T59" fmla="*/ 56 h 62"/>
                    <a:gd name="T60" fmla="*/ 19 w 60"/>
                    <a:gd name="T61" fmla="*/ 58 h 62"/>
                    <a:gd name="T62" fmla="*/ 20 w 60"/>
                    <a:gd name="T63" fmla="*/ 58 h 62"/>
                    <a:gd name="T64" fmla="*/ 23 w 60"/>
                    <a:gd name="T65" fmla="*/ 59 h 62"/>
                    <a:gd name="T66" fmla="*/ 24 w 60"/>
                    <a:gd name="T67" fmla="*/ 59 h 62"/>
                    <a:gd name="T68" fmla="*/ 26 w 60"/>
                    <a:gd name="T69" fmla="*/ 60 h 62"/>
                    <a:gd name="T70" fmla="*/ 27 w 60"/>
                    <a:gd name="T71" fmla="*/ 61 h 62"/>
                    <a:gd name="T72" fmla="*/ 29 w 60"/>
                    <a:gd name="T73" fmla="*/ 61 h 62"/>
                    <a:gd name="T74" fmla="*/ 31 w 60"/>
                    <a:gd name="T75" fmla="*/ 61 h 62"/>
                    <a:gd name="T76" fmla="*/ 33 w 60"/>
                    <a:gd name="T77" fmla="*/ 62 h 62"/>
                    <a:gd name="T78" fmla="*/ 36 w 60"/>
                    <a:gd name="T79" fmla="*/ 62 h 62"/>
                    <a:gd name="T80" fmla="*/ 37 w 60"/>
                    <a:gd name="T81" fmla="*/ 62 h 62"/>
                    <a:gd name="T82" fmla="*/ 37 w 60"/>
                    <a:gd name="T83" fmla="*/ 62 h 62"/>
                    <a:gd name="T84" fmla="*/ 40 w 60"/>
                    <a:gd name="T85" fmla="*/ 62 h 62"/>
                    <a:gd name="T86" fmla="*/ 41 w 60"/>
                    <a:gd name="T87" fmla="*/ 62 h 62"/>
                    <a:gd name="T88" fmla="*/ 43 w 60"/>
                    <a:gd name="T89" fmla="*/ 61 h 62"/>
                    <a:gd name="T90" fmla="*/ 45 w 60"/>
                    <a:gd name="T91" fmla="*/ 61 h 62"/>
                    <a:gd name="T92" fmla="*/ 47 w 60"/>
                    <a:gd name="T93" fmla="*/ 60 h 62"/>
                    <a:gd name="T94" fmla="*/ 48 w 60"/>
                    <a:gd name="T95" fmla="*/ 60 h 62"/>
                    <a:gd name="T96" fmla="*/ 50 w 60"/>
                    <a:gd name="T97" fmla="*/ 59 h 62"/>
                    <a:gd name="T98" fmla="*/ 51 w 60"/>
                    <a:gd name="T99" fmla="*/ 59 h 62"/>
                    <a:gd name="T100" fmla="*/ 53 w 60"/>
                    <a:gd name="T101" fmla="*/ 58 h 62"/>
                    <a:gd name="T102" fmla="*/ 54 w 60"/>
                    <a:gd name="T103" fmla="*/ 57 h 62"/>
                    <a:gd name="T104" fmla="*/ 56 w 60"/>
                    <a:gd name="T105" fmla="*/ 56 h 62"/>
                    <a:gd name="T106" fmla="*/ 57 w 60"/>
                    <a:gd name="T107" fmla="*/ 55 h 62"/>
                    <a:gd name="T108" fmla="*/ 60 w 60"/>
                    <a:gd name="T109" fmla="*/ 54 h 62"/>
                    <a:gd name="T110" fmla="*/ 60 w 60"/>
                    <a:gd name="T111" fmla="*/ 53 h 62"/>
                    <a:gd name="T112" fmla="*/ 60 w 60"/>
                    <a:gd name="T113" fmla="*/ 53 h 62"/>
                    <a:gd name="T114" fmla="*/ 60 w 60"/>
                    <a:gd name="T115" fmla="*/ 53 h 62"/>
                    <a:gd name="T116" fmla="*/ 30 w 60"/>
                    <a:gd name="T117" fmla="*/ 35 h 62"/>
                    <a:gd name="T118" fmla="*/ 10 w 60"/>
                    <a:gd name="T119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0" h="62">
                      <a:moveTo>
                        <a:pt x="10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9" y="1"/>
                      </a:cubicBezTo>
                      <a:cubicBezTo>
                        <a:pt x="9" y="1"/>
                        <a:pt x="8" y="2"/>
                        <a:pt x="8" y="2"/>
                      </a:cubicBezTo>
                      <a:cubicBezTo>
                        <a:pt x="8" y="3"/>
                        <a:pt x="7" y="3"/>
                        <a:pt x="7" y="3"/>
                      </a:cubicBezTo>
                      <a:cubicBezTo>
                        <a:pt x="7" y="4"/>
                        <a:pt x="6" y="5"/>
                        <a:pt x="6" y="5"/>
                      </a:cubicBezTo>
                      <a:cubicBezTo>
                        <a:pt x="6" y="6"/>
                        <a:pt x="5" y="6"/>
                        <a:pt x="5" y="6"/>
                      </a:cubicBezTo>
                      <a:cubicBezTo>
                        <a:pt x="5" y="7"/>
                        <a:pt x="4" y="8"/>
                        <a:pt x="4" y="8"/>
                      </a:cubicBez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3" y="10"/>
                        <a:pt x="3" y="11"/>
                        <a:pt x="3" y="12"/>
                      </a:cubicBezTo>
                      <a:cubicBezTo>
                        <a:pt x="2" y="12"/>
                        <a:pt x="2" y="12"/>
                        <a:pt x="2" y="13"/>
                      </a:cubicBezTo>
                      <a:cubicBezTo>
                        <a:pt x="2" y="13"/>
                        <a:pt x="2" y="14"/>
                        <a:pt x="1" y="15"/>
                      </a:cubicBezTo>
                      <a:cubicBezTo>
                        <a:pt x="1" y="15"/>
                        <a:pt x="1" y="16"/>
                        <a:pt x="1" y="16"/>
                      </a:cubicBezTo>
                      <a:cubicBezTo>
                        <a:pt x="1" y="17"/>
                        <a:pt x="1" y="18"/>
                        <a:pt x="1" y="18"/>
                      </a:cubicBezTo>
                      <a:cubicBezTo>
                        <a:pt x="1" y="19"/>
                        <a:pt x="0" y="19"/>
                        <a:pt x="0" y="19"/>
                      </a:cubicBezTo>
                      <a:cubicBezTo>
                        <a:pt x="0" y="20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0" y="23"/>
                      </a:cubicBezTo>
                      <a:cubicBezTo>
                        <a:pt x="0" y="24"/>
                        <a:pt x="0" y="25"/>
                        <a:pt x="0" y="26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0" y="30"/>
                        <a:pt x="1" y="35"/>
                        <a:pt x="3" y="39"/>
                      </a:cubicBez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40"/>
                        <a:pt x="4" y="41"/>
                        <a:pt x="4" y="42"/>
                      </a:cubicBez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5" y="43"/>
                        <a:pt x="5" y="44"/>
                        <a:pt x="6" y="45"/>
                      </a:cubicBezTo>
                      <a:cubicBezTo>
                        <a:pt x="6" y="45"/>
                        <a:pt x="6" y="45"/>
                        <a:pt x="6" y="45"/>
                      </a:cubicBezTo>
                      <a:cubicBezTo>
                        <a:pt x="7" y="47"/>
                        <a:pt x="9" y="49"/>
                        <a:pt x="11" y="51"/>
                      </a:cubicBezTo>
                      <a:cubicBezTo>
                        <a:pt x="12" y="52"/>
                        <a:pt x="13" y="53"/>
                        <a:pt x="13" y="54"/>
                      </a:cubicBezTo>
                      <a:cubicBezTo>
                        <a:pt x="13" y="54"/>
                        <a:pt x="13" y="54"/>
                        <a:pt x="13" y="54"/>
                      </a:cubicBezTo>
                      <a:cubicBezTo>
                        <a:pt x="14" y="54"/>
                        <a:pt x="15" y="55"/>
                        <a:pt x="16" y="56"/>
                      </a:cubicBezTo>
                      <a:cubicBezTo>
                        <a:pt x="17" y="56"/>
                        <a:pt x="17" y="56"/>
                        <a:pt x="17" y="56"/>
                      </a:cubicBezTo>
                      <a:cubicBezTo>
                        <a:pt x="18" y="57"/>
                        <a:pt x="19" y="57"/>
                        <a:pt x="19" y="58"/>
                      </a:cubicBezTo>
                      <a:cubicBezTo>
                        <a:pt x="20" y="58"/>
                        <a:pt x="20" y="58"/>
                        <a:pt x="20" y="58"/>
                      </a:cubicBezTo>
                      <a:cubicBezTo>
                        <a:pt x="21" y="58"/>
                        <a:pt x="22" y="59"/>
                        <a:pt x="23" y="59"/>
                      </a:cubicBezTo>
                      <a:cubicBezTo>
                        <a:pt x="23" y="59"/>
                        <a:pt x="23" y="59"/>
                        <a:pt x="24" y="59"/>
                      </a:cubicBezTo>
                      <a:cubicBezTo>
                        <a:pt x="24" y="60"/>
                        <a:pt x="25" y="60"/>
                        <a:pt x="26" y="60"/>
                      </a:cubicBezTo>
                      <a:cubicBezTo>
                        <a:pt x="26" y="60"/>
                        <a:pt x="27" y="60"/>
                        <a:pt x="27" y="61"/>
                      </a:cubicBezTo>
                      <a:cubicBezTo>
                        <a:pt x="28" y="61"/>
                        <a:pt x="29" y="61"/>
                        <a:pt x="29" y="61"/>
                      </a:cubicBezTo>
                      <a:cubicBezTo>
                        <a:pt x="30" y="61"/>
                        <a:pt x="30" y="61"/>
                        <a:pt x="31" y="61"/>
                      </a:cubicBezTo>
                      <a:cubicBezTo>
                        <a:pt x="32" y="61"/>
                        <a:pt x="32" y="62"/>
                        <a:pt x="33" y="62"/>
                      </a:cubicBezTo>
                      <a:cubicBezTo>
                        <a:pt x="34" y="62"/>
                        <a:pt x="35" y="62"/>
                        <a:pt x="36" y="62"/>
                      </a:cubicBezTo>
                      <a:cubicBezTo>
                        <a:pt x="36" y="62"/>
                        <a:pt x="36" y="62"/>
                        <a:pt x="37" y="62"/>
                      </a:cubicBezTo>
                      <a:cubicBezTo>
                        <a:pt x="37" y="62"/>
                        <a:pt x="37" y="62"/>
                        <a:pt x="37" y="62"/>
                      </a:cubicBezTo>
                      <a:cubicBezTo>
                        <a:pt x="38" y="62"/>
                        <a:pt x="39" y="62"/>
                        <a:pt x="40" y="62"/>
                      </a:cubicBezTo>
                      <a:cubicBezTo>
                        <a:pt x="40" y="62"/>
                        <a:pt x="41" y="62"/>
                        <a:pt x="41" y="62"/>
                      </a:cubicBezTo>
                      <a:cubicBezTo>
                        <a:pt x="42" y="61"/>
                        <a:pt x="43" y="61"/>
                        <a:pt x="43" y="61"/>
                      </a:cubicBezTo>
                      <a:cubicBezTo>
                        <a:pt x="44" y="61"/>
                        <a:pt x="44" y="61"/>
                        <a:pt x="45" y="61"/>
                      </a:cubicBezTo>
                      <a:cubicBezTo>
                        <a:pt x="45" y="61"/>
                        <a:pt x="46" y="61"/>
                        <a:pt x="47" y="60"/>
                      </a:cubicBezTo>
                      <a:cubicBezTo>
                        <a:pt x="47" y="60"/>
                        <a:pt x="48" y="60"/>
                        <a:pt x="48" y="60"/>
                      </a:cubicBezTo>
                      <a:cubicBezTo>
                        <a:pt x="49" y="60"/>
                        <a:pt x="49" y="60"/>
                        <a:pt x="50" y="59"/>
                      </a:cubicBezTo>
                      <a:cubicBezTo>
                        <a:pt x="50" y="59"/>
                        <a:pt x="51" y="59"/>
                        <a:pt x="51" y="59"/>
                      </a:cubicBezTo>
                      <a:cubicBezTo>
                        <a:pt x="52" y="58"/>
                        <a:pt x="53" y="58"/>
                        <a:pt x="53" y="58"/>
                      </a:cubicBezTo>
                      <a:cubicBezTo>
                        <a:pt x="54" y="58"/>
                        <a:pt x="54" y="57"/>
                        <a:pt x="54" y="57"/>
                      </a:cubicBezTo>
                      <a:cubicBezTo>
                        <a:pt x="55" y="57"/>
                        <a:pt x="56" y="56"/>
                        <a:pt x="56" y="56"/>
                      </a:cubicBezTo>
                      <a:cubicBezTo>
                        <a:pt x="57" y="56"/>
                        <a:pt x="57" y="56"/>
                        <a:pt x="57" y="55"/>
                      </a:cubicBezTo>
                      <a:cubicBezTo>
                        <a:pt x="58" y="55"/>
                        <a:pt x="59" y="54"/>
                        <a:pt x="60" y="54"/>
                      </a:cubicBezTo>
                      <a:cubicBezTo>
                        <a:pt x="60" y="54"/>
                        <a:pt x="60" y="54"/>
                        <a:pt x="60" y="53"/>
                      </a:cubicBezTo>
                      <a:cubicBezTo>
                        <a:pt x="60" y="53"/>
                        <a:pt x="60" y="53"/>
                        <a:pt x="60" y="53"/>
                      </a:cubicBezTo>
                      <a:cubicBezTo>
                        <a:pt x="60" y="53"/>
                        <a:pt x="60" y="53"/>
                        <a:pt x="60" y="53"/>
                      </a:cubicBezTo>
                      <a:cubicBezTo>
                        <a:pt x="49" y="50"/>
                        <a:pt x="39" y="43"/>
                        <a:pt x="30" y="35"/>
                      </a:cubicBezTo>
                      <a:cubicBezTo>
                        <a:pt x="20" y="25"/>
                        <a:pt x="13" y="13"/>
                        <a:pt x="1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Freeform 257"/>
                <p:cNvSpPr>
                  <a:spLocks/>
                </p:cNvSpPr>
                <p:nvPr/>
              </p:nvSpPr>
              <p:spPr bwMode="auto">
                <a:xfrm>
                  <a:off x="4171951" y="4352925"/>
                  <a:ext cx="77788" cy="80963"/>
                </a:xfrm>
                <a:custGeom>
                  <a:avLst/>
                  <a:gdLst>
                    <a:gd name="T0" fmla="*/ 50 w 54"/>
                    <a:gd name="T1" fmla="*/ 52 h 56"/>
                    <a:gd name="T2" fmla="*/ 51 w 54"/>
                    <a:gd name="T3" fmla="*/ 51 h 56"/>
                    <a:gd name="T4" fmla="*/ 51 w 54"/>
                    <a:gd name="T5" fmla="*/ 49 h 56"/>
                    <a:gd name="T6" fmla="*/ 52 w 54"/>
                    <a:gd name="T7" fmla="*/ 48 h 56"/>
                    <a:gd name="T8" fmla="*/ 53 w 54"/>
                    <a:gd name="T9" fmla="*/ 41 h 56"/>
                    <a:gd name="T10" fmla="*/ 53 w 54"/>
                    <a:gd name="T11" fmla="*/ 41 h 56"/>
                    <a:gd name="T12" fmla="*/ 43 w 54"/>
                    <a:gd name="T13" fmla="*/ 11 h 56"/>
                    <a:gd name="T14" fmla="*/ 17 w 54"/>
                    <a:gd name="T15" fmla="*/ 0 h 56"/>
                    <a:gd name="T16" fmla="*/ 9 w 54"/>
                    <a:gd name="T17" fmla="*/ 1 h 56"/>
                    <a:gd name="T18" fmla="*/ 9 w 54"/>
                    <a:gd name="T19" fmla="*/ 1 h 56"/>
                    <a:gd name="T20" fmla="*/ 6 w 54"/>
                    <a:gd name="T21" fmla="*/ 2 h 56"/>
                    <a:gd name="T22" fmla="*/ 5 w 54"/>
                    <a:gd name="T23" fmla="*/ 2 h 56"/>
                    <a:gd name="T24" fmla="*/ 3 w 54"/>
                    <a:gd name="T25" fmla="*/ 3 h 56"/>
                    <a:gd name="T26" fmla="*/ 1 w 54"/>
                    <a:gd name="T27" fmla="*/ 4 h 56"/>
                    <a:gd name="T28" fmla="*/ 0 w 54"/>
                    <a:gd name="T29" fmla="*/ 4 h 56"/>
                    <a:gd name="T30" fmla="*/ 0 w 54"/>
                    <a:gd name="T31" fmla="*/ 5 h 56"/>
                    <a:gd name="T32" fmla="*/ 18 w 54"/>
                    <a:gd name="T33" fmla="*/ 39 h 56"/>
                    <a:gd name="T34" fmla="*/ 48 w 54"/>
                    <a:gd name="T35" fmla="*/ 56 h 56"/>
                    <a:gd name="T36" fmla="*/ 48 w 54"/>
                    <a:gd name="T37" fmla="*/ 56 h 56"/>
                    <a:gd name="T38" fmla="*/ 49 w 54"/>
                    <a:gd name="T39" fmla="*/ 55 h 56"/>
                    <a:gd name="T40" fmla="*/ 49 w 54"/>
                    <a:gd name="T41" fmla="*/ 54 h 56"/>
                    <a:gd name="T42" fmla="*/ 50 w 54"/>
                    <a:gd name="T43" fmla="*/ 52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4" h="56">
                      <a:moveTo>
                        <a:pt x="50" y="52"/>
                      </a:moveTo>
                      <a:cubicBezTo>
                        <a:pt x="50" y="52"/>
                        <a:pt x="50" y="51"/>
                        <a:pt x="51" y="51"/>
                      </a:cubicBezTo>
                      <a:cubicBezTo>
                        <a:pt x="51" y="50"/>
                        <a:pt x="51" y="49"/>
                        <a:pt x="51" y="49"/>
                      </a:cubicBezTo>
                      <a:cubicBezTo>
                        <a:pt x="51" y="48"/>
                        <a:pt x="52" y="48"/>
                        <a:pt x="52" y="48"/>
                      </a:cubicBezTo>
                      <a:cubicBezTo>
                        <a:pt x="52" y="46"/>
                        <a:pt x="53" y="43"/>
                        <a:pt x="53" y="41"/>
                      </a:cubicBezTo>
                      <a:cubicBezTo>
                        <a:pt x="53" y="41"/>
                        <a:pt x="53" y="41"/>
                        <a:pt x="53" y="41"/>
                      </a:cubicBezTo>
                      <a:cubicBezTo>
                        <a:pt x="54" y="30"/>
                        <a:pt x="51" y="19"/>
                        <a:pt x="43" y="11"/>
                      </a:cubicBezTo>
                      <a:cubicBezTo>
                        <a:pt x="35" y="4"/>
                        <a:pt x="26" y="0"/>
                        <a:pt x="17" y="0"/>
                      </a:cubicBezTo>
                      <a:cubicBezTo>
                        <a:pt x="14" y="0"/>
                        <a:pt x="12" y="1"/>
                        <a:pt x="9" y="1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8" y="1"/>
                        <a:pt x="7" y="2"/>
                        <a:pt x="6" y="2"/>
                      </a:cubicBezTo>
                      <a:cubicBezTo>
                        <a:pt x="6" y="2"/>
                        <a:pt x="6" y="2"/>
                        <a:pt x="5" y="2"/>
                      </a:cubicBezTo>
                      <a:cubicBezTo>
                        <a:pt x="4" y="3"/>
                        <a:pt x="4" y="3"/>
                        <a:pt x="3" y="3"/>
                      </a:cubicBezTo>
                      <a:cubicBezTo>
                        <a:pt x="2" y="3"/>
                        <a:pt x="2" y="4"/>
                        <a:pt x="1" y="4"/>
                      </a:cubicBezTo>
                      <a:cubicBezTo>
                        <a:pt x="1" y="4"/>
                        <a:pt x="0" y="4"/>
                        <a:pt x="0" y="4"/>
                      </a:cubicBezTo>
                      <a:cubicBezTo>
                        <a:pt x="0" y="4"/>
                        <a:pt x="0" y="4"/>
                        <a:pt x="0" y="5"/>
                      </a:cubicBezTo>
                      <a:cubicBezTo>
                        <a:pt x="2" y="17"/>
                        <a:pt x="8" y="29"/>
                        <a:pt x="18" y="39"/>
                      </a:cubicBezTo>
                      <a:cubicBezTo>
                        <a:pt x="27" y="48"/>
                        <a:pt x="37" y="53"/>
                        <a:pt x="48" y="56"/>
                      </a:cubicBezTo>
                      <a:cubicBezTo>
                        <a:pt x="48" y="56"/>
                        <a:pt x="48" y="56"/>
                        <a:pt x="48" y="56"/>
                      </a:cubicBezTo>
                      <a:cubicBezTo>
                        <a:pt x="48" y="56"/>
                        <a:pt x="48" y="55"/>
                        <a:pt x="49" y="55"/>
                      </a:cubicBezTo>
                      <a:cubicBezTo>
                        <a:pt x="49" y="55"/>
                        <a:pt x="49" y="54"/>
                        <a:pt x="49" y="54"/>
                      </a:cubicBezTo>
                      <a:cubicBezTo>
                        <a:pt x="49" y="53"/>
                        <a:pt x="50" y="53"/>
                        <a:pt x="5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81" name="Группа 80"/>
            <p:cNvGrpSpPr/>
            <p:nvPr/>
          </p:nvGrpSpPr>
          <p:grpSpPr>
            <a:xfrm>
              <a:off x="274984" y="5777220"/>
              <a:ext cx="5724405" cy="658054"/>
              <a:chOff x="274984" y="5777220"/>
              <a:chExt cx="5724405" cy="658054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274984" y="5777220"/>
                <a:ext cx="5724405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Аудиовидеозапись</a:t>
                </a:r>
              </a:p>
            </p:txBody>
          </p:sp>
          <p:grpSp>
            <p:nvGrpSpPr>
              <p:cNvPr id="61" name="Group 345"/>
              <p:cNvGrpSpPr/>
              <p:nvPr/>
            </p:nvGrpSpPr>
            <p:grpSpPr>
              <a:xfrm>
                <a:off x="528289" y="5863934"/>
                <a:ext cx="515259" cy="433338"/>
                <a:chOff x="5462589" y="1790700"/>
                <a:chExt cx="277813" cy="231776"/>
              </a:xfrm>
              <a:solidFill>
                <a:srgbClr val="048DA0"/>
              </a:solidFill>
            </p:grpSpPr>
            <p:sp>
              <p:nvSpPr>
                <p:cNvPr id="62" name="Freeform 188"/>
                <p:cNvSpPr>
                  <a:spLocks/>
                </p:cNvSpPr>
                <p:nvPr/>
              </p:nvSpPr>
              <p:spPr bwMode="auto">
                <a:xfrm>
                  <a:off x="5462589" y="1906588"/>
                  <a:ext cx="277813" cy="115888"/>
                </a:xfrm>
                <a:custGeom>
                  <a:avLst/>
                  <a:gdLst>
                    <a:gd name="T0" fmla="*/ 184 w 192"/>
                    <a:gd name="T1" fmla="*/ 8 h 80"/>
                    <a:gd name="T2" fmla="*/ 168 w 192"/>
                    <a:gd name="T3" fmla="*/ 16 h 80"/>
                    <a:gd name="T4" fmla="*/ 152 w 192"/>
                    <a:gd name="T5" fmla="*/ 16 h 80"/>
                    <a:gd name="T6" fmla="*/ 152 w 192"/>
                    <a:gd name="T7" fmla="*/ 8 h 80"/>
                    <a:gd name="T8" fmla="*/ 144 w 192"/>
                    <a:gd name="T9" fmla="*/ 0 h 80"/>
                    <a:gd name="T10" fmla="*/ 120 w 192"/>
                    <a:gd name="T11" fmla="*/ 0 h 80"/>
                    <a:gd name="T12" fmla="*/ 48 w 192"/>
                    <a:gd name="T13" fmla="*/ 0 h 80"/>
                    <a:gd name="T14" fmla="*/ 24 w 192"/>
                    <a:gd name="T15" fmla="*/ 0 h 80"/>
                    <a:gd name="T16" fmla="*/ 16 w 192"/>
                    <a:gd name="T17" fmla="*/ 8 h 80"/>
                    <a:gd name="T18" fmla="*/ 8 w 192"/>
                    <a:gd name="T19" fmla="*/ 8 h 80"/>
                    <a:gd name="T20" fmla="*/ 0 w 192"/>
                    <a:gd name="T21" fmla="*/ 16 h 80"/>
                    <a:gd name="T22" fmla="*/ 0 w 192"/>
                    <a:gd name="T23" fmla="*/ 40 h 80"/>
                    <a:gd name="T24" fmla="*/ 8 w 192"/>
                    <a:gd name="T25" fmla="*/ 48 h 80"/>
                    <a:gd name="T26" fmla="*/ 16 w 192"/>
                    <a:gd name="T27" fmla="*/ 48 h 80"/>
                    <a:gd name="T28" fmla="*/ 16 w 192"/>
                    <a:gd name="T29" fmla="*/ 72 h 80"/>
                    <a:gd name="T30" fmla="*/ 24 w 192"/>
                    <a:gd name="T31" fmla="*/ 80 h 80"/>
                    <a:gd name="T32" fmla="*/ 144 w 192"/>
                    <a:gd name="T33" fmla="*/ 80 h 80"/>
                    <a:gd name="T34" fmla="*/ 152 w 192"/>
                    <a:gd name="T35" fmla="*/ 72 h 80"/>
                    <a:gd name="T36" fmla="*/ 152 w 192"/>
                    <a:gd name="T37" fmla="*/ 56 h 80"/>
                    <a:gd name="T38" fmla="*/ 168 w 192"/>
                    <a:gd name="T39" fmla="*/ 56 h 80"/>
                    <a:gd name="T40" fmla="*/ 184 w 192"/>
                    <a:gd name="T41" fmla="*/ 64 h 80"/>
                    <a:gd name="T42" fmla="*/ 192 w 192"/>
                    <a:gd name="T43" fmla="*/ 56 h 80"/>
                    <a:gd name="T44" fmla="*/ 192 w 192"/>
                    <a:gd name="T45" fmla="*/ 16 h 80"/>
                    <a:gd name="T46" fmla="*/ 184 w 192"/>
                    <a:gd name="T47" fmla="*/ 8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92" h="80">
                      <a:moveTo>
                        <a:pt x="184" y="8"/>
                      </a:moveTo>
                      <a:cubicBezTo>
                        <a:pt x="180" y="8"/>
                        <a:pt x="168" y="16"/>
                        <a:pt x="168" y="16"/>
                      </a:cubicBezTo>
                      <a:cubicBezTo>
                        <a:pt x="152" y="16"/>
                        <a:pt x="152" y="16"/>
                        <a:pt x="152" y="16"/>
                      </a:cubicBezTo>
                      <a:cubicBezTo>
                        <a:pt x="152" y="8"/>
                        <a:pt x="152" y="8"/>
                        <a:pt x="152" y="8"/>
                      </a:cubicBezTo>
                      <a:cubicBezTo>
                        <a:pt x="152" y="3"/>
                        <a:pt x="148" y="0"/>
                        <a:pt x="144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0" y="0"/>
                        <a:pt x="16" y="3"/>
                        <a:pt x="16" y="8"/>
                      </a:cubicBez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4" y="8"/>
                        <a:pt x="0" y="11"/>
                        <a:pt x="0" y="16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4" y="48"/>
                        <a:pt x="8" y="48"/>
                      </a:cubicBezTo>
                      <a:cubicBezTo>
                        <a:pt x="16" y="48"/>
                        <a:pt x="16" y="48"/>
                        <a:pt x="16" y="48"/>
                      </a:cubicBezTo>
                      <a:cubicBezTo>
                        <a:pt x="16" y="72"/>
                        <a:pt x="16" y="72"/>
                        <a:pt x="16" y="72"/>
                      </a:cubicBezTo>
                      <a:cubicBezTo>
                        <a:pt x="16" y="76"/>
                        <a:pt x="20" y="80"/>
                        <a:pt x="24" y="80"/>
                      </a:cubicBezTo>
                      <a:cubicBezTo>
                        <a:pt x="144" y="80"/>
                        <a:pt x="144" y="80"/>
                        <a:pt x="144" y="80"/>
                      </a:cubicBezTo>
                      <a:cubicBezTo>
                        <a:pt x="148" y="80"/>
                        <a:pt x="152" y="76"/>
                        <a:pt x="152" y="72"/>
                      </a:cubicBezTo>
                      <a:cubicBezTo>
                        <a:pt x="152" y="56"/>
                        <a:pt x="152" y="56"/>
                        <a:pt x="152" y="56"/>
                      </a:cubicBezTo>
                      <a:cubicBezTo>
                        <a:pt x="168" y="56"/>
                        <a:pt x="168" y="56"/>
                        <a:pt x="168" y="56"/>
                      </a:cubicBezTo>
                      <a:cubicBezTo>
                        <a:pt x="168" y="56"/>
                        <a:pt x="180" y="64"/>
                        <a:pt x="184" y="64"/>
                      </a:cubicBezTo>
                      <a:cubicBezTo>
                        <a:pt x="188" y="64"/>
                        <a:pt x="192" y="60"/>
                        <a:pt x="192" y="56"/>
                      </a:cubicBezTo>
                      <a:cubicBezTo>
                        <a:pt x="192" y="16"/>
                        <a:pt x="192" y="16"/>
                        <a:pt x="192" y="16"/>
                      </a:cubicBezTo>
                      <a:cubicBezTo>
                        <a:pt x="192" y="11"/>
                        <a:pt x="188" y="8"/>
                        <a:pt x="184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3" name="Oval 189"/>
                <p:cNvSpPr>
                  <a:spLocks noChangeArrowheads="1"/>
                </p:cNvSpPr>
                <p:nvPr/>
              </p:nvSpPr>
              <p:spPr bwMode="auto">
                <a:xfrm>
                  <a:off x="5473701" y="1790700"/>
                  <a:ext cx="115888" cy="11588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Oval 190"/>
                <p:cNvSpPr>
                  <a:spLocks noChangeArrowheads="1"/>
                </p:cNvSpPr>
                <p:nvPr/>
              </p:nvSpPr>
              <p:spPr bwMode="auto">
                <a:xfrm>
                  <a:off x="5589589" y="1814513"/>
                  <a:ext cx="92075" cy="9207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74" name="Группа 73"/>
            <p:cNvGrpSpPr/>
            <p:nvPr/>
          </p:nvGrpSpPr>
          <p:grpSpPr>
            <a:xfrm>
              <a:off x="6157233" y="2477254"/>
              <a:ext cx="5778953" cy="658054"/>
              <a:chOff x="6157233" y="2477254"/>
              <a:chExt cx="5778953" cy="658054"/>
            </a:xfrm>
          </p:grpSpPr>
          <p:sp>
            <p:nvSpPr>
              <p:cNvPr id="22" name="Прямоугольник 21"/>
              <p:cNvSpPr/>
              <p:nvPr/>
            </p:nvSpPr>
            <p:spPr>
              <a:xfrm>
                <a:off x="6157233" y="2477254"/>
                <a:ext cx="5778953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Военная фотожурналистика</a:t>
                </a:r>
              </a:p>
            </p:txBody>
          </p:sp>
          <p:sp>
            <p:nvSpPr>
              <p:cNvPr id="65" name="Freeform 72"/>
              <p:cNvSpPr>
                <a:spLocks noEditPoints="1"/>
              </p:cNvSpPr>
              <p:nvPr/>
            </p:nvSpPr>
            <p:spPr bwMode="auto">
              <a:xfrm>
                <a:off x="6430193" y="2610308"/>
                <a:ext cx="512353" cy="391946"/>
              </a:xfrm>
              <a:custGeom>
                <a:avLst/>
                <a:gdLst>
                  <a:gd name="T0" fmla="*/ 51 w 51"/>
                  <a:gd name="T1" fmla="*/ 14 h 44"/>
                  <a:gd name="T2" fmla="*/ 51 w 51"/>
                  <a:gd name="T3" fmla="*/ 38 h 44"/>
                  <a:gd name="T4" fmla="*/ 44 w 51"/>
                  <a:gd name="T5" fmla="*/ 44 h 44"/>
                  <a:gd name="T6" fmla="*/ 6 w 51"/>
                  <a:gd name="T7" fmla="*/ 44 h 44"/>
                  <a:gd name="T8" fmla="*/ 0 w 51"/>
                  <a:gd name="T9" fmla="*/ 38 h 44"/>
                  <a:gd name="T10" fmla="*/ 0 w 51"/>
                  <a:gd name="T11" fmla="*/ 14 h 44"/>
                  <a:gd name="T12" fmla="*/ 6 w 51"/>
                  <a:gd name="T13" fmla="*/ 7 h 44"/>
                  <a:gd name="T14" fmla="*/ 12 w 51"/>
                  <a:gd name="T15" fmla="*/ 7 h 44"/>
                  <a:gd name="T16" fmla="*/ 14 w 51"/>
                  <a:gd name="T17" fmla="*/ 3 h 44"/>
                  <a:gd name="T18" fmla="*/ 18 w 51"/>
                  <a:gd name="T19" fmla="*/ 0 h 44"/>
                  <a:gd name="T20" fmla="*/ 32 w 51"/>
                  <a:gd name="T21" fmla="*/ 0 h 44"/>
                  <a:gd name="T22" fmla="*/ 37 w 51"/>
                  <a:gd name="T23" fmla="*/ 3 h 44"/>
                  <a:gd name="T24" fmla="*/ 38 w 51"/>
                  <a:gd name="T25" fmla="*/ 7 h 44"/>
                  <a:gd name="T26" fmla="*/ 44 w 51"/>
                  <a:gd name="T27" fmla="*/ 7 h 44"/>
                  <a:gd name="T28" fmla="*/ 51 w 51"/>
                  <a:gd name="T29" fmla="*/ 14 h 44"/>
                  <a:gd name="T30" fmla="*/ 37 w 51"/>
                  <a:gd name="T31" fmla="*/ 26 h 44"/>
                  <a:gd name="T32" fmla="*/ 25 w 51"/>
                  <a:gd name="T33" fmla="*/ 14 h 44"/>
                  <a:gd name="T34" fmla="*/ 13 w 51"/>
                  <a:gd name="T35" fmla="*/ 26 h 44"/>
                  <a:gd name="T36" fmla="*/ 25 w 51"/>
                  <a:gd name="T37" fmla="*/ 38 h 44"/>
                  <a:gd name="T38" fmla="*/ 37 w 51"/>
                  <a:gd name="T39" fmla="*/ 26 h 44"/>
                  <a:gd name="T40" fmla="*/ 33 w 51"/>
                  <a:gd name="T41" fmla="*/ 26 h 44"/>
                  <a:gd name="T42" fmla="*/ 25 w 51"/>
                  <a:gd name="T43" fmla="*/ 33 h 44"/>
                  <a:gd name="T44" fmla="*/ 18 w 51"/>
                  <a:gd name="T45" fmla="*/ 26 h 44"/>
                  <a:gd name="T46" fmla="*/ 25 w 51"/>
                  <a:gd name="T47" fmla="*/ 18 h 44"/>
                  <a:gd name="T48" fmla="*/ 33 w 51"/>
                  <a:gd name="T49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1" h="44">
                    <a:moveTo>
                      <a:pt x="51" y="14"/>
                    </a:moveTo>
                    <a:cubicBezTo>
                      <a:pt x="51" y="38"/>
                      <a:pt x="51" y="38"/>
                      <a:pt x="51" y="38"/>
                    </a:cubicBezTo>
                    <a:cubicBezTo>
                      <a:pt x="51" y="41"/>
                      <a:pt x="48" y="44"/>
                      <a:pt x="44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3" y="44"/>
                      <a:pt x="0" y="41"/>
                      <a:pt x="0" y="3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0"/>
                      <a:pt x="3" y="7"/>
                      <a:pt x="6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5" y="1"/>
                      <a:pt x="17" y="0"/>
                      <a:pt x="18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4" y="0"/>
                      <a:pt x="36" y="1"/>
                      <a:pt x="37" y="3"/>
                    </a:cubicBezTo>
                    <a:cubicBezTo>
                      <a:pt x="38" y="7"/>
                      <a:pt x="38" y="7"/>
                      <a:pt x="38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8" y="7"/>
                      <a:pt x="51" y="10"/>
                      <a:pt x="51" y="14"/>
                    </a:cubicBezTo>
                    <a:close/>
                    <a:moveTo>
                      <a:pt x="37" y="26"/>
                    </a:moveTo>
                    <a:cubicBezTo>
                      <a:pt x="37" y="19"/>
                      <a:pt x="32" y="14"/>
                      <a:pt x="25" y="14"/>
                    </a:cubicBezTo>
                    <a:cubicBezTo>
                      <a:pt x="19" y="14"/>
                      <a:pt x="13" y="19"/>
                      <a:pt x="13" y="26"/>
                    </a:cubicBezTo>
                    <a:cubicBezTo>
                      <a:pt x="13" y="32"/>
                      <a:pt x="19" y="38"/>
                      <a:pt x="25" y="38"/>
                    </a:cubicBezTo>
                    <a:cubicBezTo>
                      <a:pt x="32" y="38"/>
                      <a:pt x="37" y="32"/>
                      <a:pt x="37" y="26"/>
                    </a:cubicBezTo>
                    <a:close/>
                    <a:moveTo>
                      <a:pt x="33" y="26"/>
                    </a:moveTo>
                    <a:cubicBezTo>
                      <a:pt x="33" y="30"/>
                      <a:pt x="30" y="33"/>
                      <a:pt x="25" y="33"/>
                    </a:cubicBezTo>
                    <a:cubicBezTo>
                      <a:pt x="21" y="33"/>
                      <a:pt x="18" y="30"/>
                      <a:pt x="18" y="26"/>
                    </a:cubicBezTo>
                    <a:cubicBezTo>
                      <a:pt x="18" y="21"/>
                      <a:pt x="21" y="18"/>
                      <a:pt x="25" y="18"/>
                    </a:cubicBezTo>
                    <a:cubicBezTo>
                      <a:pt x="30" y="18"/>
                      <a:pt x="33" y="21"/>
                      <a:pt x="33" y="26"/>
                    </a:cubicBezTo>
                    <a:close/>
                  </a:path>
                </a:pathLst>
              </a:custGeom>
              <a:solidFill>
                <a:srgbClr val="088EA1"/>
              </a:solidFill>
              <a:ln>
                <a:noFill/>
              </a:ln>
              <a:extLst/>
            </p:spPr>
            <p:txBody>
              <a:bodyPr vert="horz" wrap="square" lIns="104235" tIns="52118" rIns="104235" bIns="5211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77" name="Группа 76"/>
            <p:cNvGrpSpPr/>
            <p:nvPr/>
          </p:nvGrpSpPr>
          <p:grpSpPr>
            <a:xfrm>
              <a:off x="274984" y="4077900"/>
              <a:ext cx="5724405" cy="658054"/>
              <a:chOff x="274984" y="4077900"/>
              <a:chExt cx="5724405" cy="658054"/>
            </a:xfrm>
          </p:grpSpPr>
          <p:sp>
            <p:nvSpPr>
              <p:cNvPr id="31" name="Прямоугольник 30"/>
              <p:cNvSpPr/>
              <p:nvPr/>
            </p:nvSpPr>
            <p:spPr>
              <a:xfrm>
                <a:off x="274984" y="4077900"/>
                <a:ext cx="5724405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Компьютерный набор и верстка </a:t>
                </a:r>
                <a:r>
                  <a:rPr lang="ru-RU" sz="1400" b="1" spc="120" dirty="0" smtClean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газет</a:t>
                </a:r>
                <a:endParaRPr lang="ru-RU" sz="1400" b="1" spc="120" dirty="0">
                  <a:solidFill>
                    <a:srgbClr val="0A90A2"/>
                  </a:solidFill>
                  <a:latin typeface="Arial" panose="020B0604020202020204" pitchFamily="34" charset="0"/>
                  <a:cs typeface="Aharoni" panose="02010803020104030203" pitchFamily="2" charset="-79"/>
                </a:endParaRPr>
              </a:p>
            </p:txBody>
          </p:sp>
          <p:sp>
            <p:nvSpPr>
              <p:cNvPr id="66" name="Freeform 162"/>
              <p:cNvSpPr>
                <a:spLocks noEditPoints="1"/>
              </p:cNvSpPr>
              <p:nvPr/>
            </p:nvSpPr>
            <p:spPr bwMode="auto">
              <a:xfrm>
                <a:off x="507448" y="4228049"/>
                <a:ext cx="483548" cy="347668"/>
              </a:xfrm>
              <a:custGeom>
                <a:avLst/>
                <a:gdLst>
                  <a:gd name="T0" fmla="*/ 3 w 46"/>
                  <a:gd name="T1" fmla="*/ 12 h 40"/>
                  <a:gd name="T2" fmla="*/ 43 w 46"/>
                  <a:gd name="T3" fmla="*/ 12 h 40"/>
                  <a:gd name="T4" fmla="*/ 43 w 46"/>
                  <a:gd name="T5" fmla="*/ 10 h 40"/>
                  <a:gd name="T6" fmla="*/ 34 w 46"/>
                  <a:gd name="T7" fmla="*/ 7 h 40"/>
                  <a:gd name="T8" fmla="*/ 32 w 46"/>
                  <a:gd name="T9" fmla="*/ 7 h 40"/>
                  <a:gd name="T10" fmla="*/ 32 w 46"/>
                  <a:gd name="T11" fmla="*/ 0 h 40"/>
                  <a:gd name="T12" fmla="*/ 14 w 46"/>
                  <a:gd name="T13" fmla="*/ 0 h 40"/>
                  <a:gd name="T14" fmla="*/ 14 w 46"/>
                  <a:gd name="T15" fmla="*/ 7 h 40"/>
                  <a:gd name="T16" fmla="*/ 12 w 46"/>
                  <a:gd name="T17" fmla="*/ 7 h 40"/>
                  <a:gd name="T18" fmla="*/ 2 w 46"/>
                  <a:gd name="T19" fmla="*/ 10 h 40"/>
                  <a:gd name="T20" fmla="*/ 3 w 46"/>
                  <a:gd name="T21" fmla="*/ 12 h 40"/>
                  <a:gd name="T22" fmla="*/ 43 w 46"/>
                  <a:gd name="T23" fmla="*/ 14 h 40"/>
                  <a:gd name="T24" fmla="*/ 2 w 46"/>
                  <a:gd name="T25" fmla="*/ 14 h 40"/>
                  <a:gd name="T26" fmla="*/ 0 w 46"/>
                  <a:gd name="T27" fmla="*/ 17 h 40"/>
                  <a:gd name="T28" fmla="*/ 0 w 46"/>
                  <a:gd name="T29" fmla="*/ 25 h 40"/>
                  <a:gd name="T30" fmla="*/ 2 w 46"/>
                  <a:gd name="T31" fmla="*/ 28 h 40"/>
                  <a:gd name="T32" fmla="*/ 7 w 46"/>
                  <a:gd name="T33" fmla="*/ 28 h 40"/>
                  <a:gd name="T34" fmla="*/ 5 w 46"/>
                  <a:gd name="T35" fmla="*/ 40 h 40"/>
                  <a:gd name="T36" fmla="*/ 40 w 46"/>
                  <a:gd name="T37" fmla="*/ 40 h 40"/>
                  <a:gd name="T38" fmla="*/ 38 w 46"/>
                  <a:gd name="T39" fmla="*/ 28 h 40"/>
                  <a:gd name="T40" fmla="*/ 43 w 46"/>
                  <a:gd name="T41" fmla="*/ 28 h 40"/>
                  <a:gd name="T42" fmla="*/ 46 w 46"/>
                  <a:gd name="T43" fmla="*/ 25 h 40"/>
                  <a:gd name="T44" fmla="*/ 46 w 46"/>
                  <a:gd name="T45" fmla="*/ 17 h 40"/>
                  <a:gd name="T46" fmla="*/ 43 w 46"/>
                  <a:gd name="T47" fmla="*/ 14 h 40"/>
                  <a:gd name="T48" fmla="*/ 10 w 46"/>
                  <a:gd name="T49" fmla="*/ 35 h 40"/>
                  <a:gd name="T50" fmla="*/ 13 w 46"/>
                  <a:gd name="T51" fmla="*/ 20 h 40"/>
                  <a:gd name="T52" fmla="*/ 32 w 46"/>
                  <a:gd name="T53" fmla="*/ 20 h 40"/>
                  <a:gd name="T54" fmla="*/ 36 w 46"/>
                  <a:gd name="T55" fmla="*/ 35 h 40"/>
                  <a:gd name="T56" fmla="*/ 10 w 46"/>
                  <a:gd name="T57" fmla="*/ 3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6" h="40">
                    <a:moveTo>
                      <a:pt x="3" y="12"/>
                    </a:moveTo>
                    <a:cubicBezTo>
                      <a:pt x="43" y="12"/>
                      <a:pt x="43" y="12"/>
                      <a:pt x="43" y="12"/>
                    </a:cubicBezTo>
                    <a:cubicBezTo>
                      <a:pt x="44" y="12"/>
                      <a:pt x="44" y="10"/>
                      <a:pt x="43" y="10"/>
                    </a:cubicBezTo>
                    <a:cubicBezTo>
                      <a:pt x="42" y="10"/>
                      <a:pt x="35" y="7"/>
                      <a:pt x="34" y="7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0" y="7"/>
                      <a:pt x="3" y="10"/>
                      <a:pt x="2" y="10"/>
                    </a:cubicBezTo>
                    <a:cubicBezTo>
                      <a:pt x="2" y="10"/>
                      <a:pt x="1" y="12"/>
                      <a:pt x="3" y="12"/>
                    </a:cubicBezTo>
                    <a:close/>
                    <a:moveTo>
                      <a:pt x="43" y="14"/>
                    </a:moveTo>
                    <a:cubicBezTo>
                      <a:pt x="2" y="14"/>
                      <a:pt x="2" y="14"/>
                      <a:pt x="2" y="14"/>
                    </a:cubicBezTo>
                    <a:cubicBezTo>
                      <a:pt x="1" y="14"/>
                      <a:pt x="0" y="16"/>
                      <a:pt x="0" y="1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7"/>
                      <a:pt x="1" y="28"/>
                      <a:pt x="2" y="28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4" y="28"/>
                      <a:pt x="46" y="27"/>
                      <a:pt x="46" y="25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6" y="16"/>
                      <a:pt x="44" y="14"/>
                      <a:pt x="43" y="14"/>
                    </a:cubicBezTo>
                    <a:close/>
                    <a:moveTo>
                      <a:pt x="10" y="35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36" y="35"/>
                      <a:pt x="36" y="35"/>
                      <a:pt x="36" y="35"/>
                    </a:cubicBezTo>
                    <a:lnTo>
                      <a:pt x="10" y="35"/>
                    </a:lnTo>
                    <a:close/>
                  </a:path>
                </a:pathLst>
              </a:custGeom>
              <a:solidFill>
                <a:srgbClr val="078EA1"/>
              </a:solidFill>
              <a:ln>
                <a:noFill/>
              </a:ln>
              <a:extLst/>
            </p:spPr>
            <p:txBody>
              <a:bodyPr vert="horz" wrap="square" lIns="104235" tIns="52118" rIns="104235" bIns="5211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4" name="Группа 3"/>
            <p:cNvGrpSpPr/>
            <p:nvPr/>
          </p:nvGrpSpPr>
          <p:grpSpPr>
            <a:xfrm>
              <a:off x="274984" y="3277577"/>
              <a:ext cx="5724405" cy="658054"/>
              <a:chOff x="274984" y="3277577"/>
              <a:chExt cx="5724405" cy="658054"/>
            </a:xfrm>
          </p:grpSpPr>
          <p:sp>
            <p:nvSpPr>
              <p:cNvPr id="25" name="Прямоугольник 24"/>
              <p:cNvSpPr/>
              <p:nvPr/>
            </p:nvSpPr>
            <p:spPr>
              <a:xfrm>
                <a:off x="274984" y="3277577"/>
                <a:ext cx="5724405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Военная теле- и радиожурналистика</a:t>
                </a:r>
              </a:p>
            </p:txBody>
          </p:sp>
          <p:sp>
            <p:nvSpPr>
              <p:cNvPr id="67" name="Freeform 189"/>
              <p:cNvSpPr>
                <a:spLocks noEditPoints="1"/>
              </p:cNvSpPr>
              <p:nvPr/>
            </p:nvSpPr>
            <p:spPr bwMode="auto">
              <a:xfrm>
                <a:off x="516972" y="3438753"/>
                <a:ext cx="463549" cy="406170"/>
              </a:xfrm>
              <a:custGeom>
                <a:avLst/>
                <a:gdLst>
                  <a:gd name="T0" fmla="*/ 43 w 47"/>
                  <a:gd name="T1" fmla="*/ 0 h 41"/>
                  <a:gd name="T2" fmla="*/ 5 w 47"/>
                  <a:gd name="T3" fmla="*/ 0 h 41"/>
                  <a:gd name="T4" fmla="*/ 0 w 47"/>
                  <a:gd name="T5" fmla="*/ 4 h 41"/>
                  <a:gd name="T6" fmla="*/ 0 w 47"/>
                  <a:gd name="T7" fmla="*/ 30 h 41"/>
                  <a:gd name="T8" fmla="*/ 5 w 47"/>
                  <a:gd name="T9" fmla="*/ 36 h 41"/>
                  <a:gd name="T10" fmla="*/ 15 w 47"/>
                  <a:gd name="T11" fmla="*/ 38 h 41"/>
                  <a:gd name="T12" fmla="*/ 12 w 47"/>
                  <a:gd name="T13" fmla="*/ 41 h 41"/>
                  <a:gd name="T14" fmla="*/ 36 w 47"/>
                  <a:gd name="T15" fmla="*/ 41 h 41"/>
                  <a:gd name="T16" fmla="*/ 33 w 47"/>
                  <a:gd name="T17" fmla="*/ 38 h 41"/>
                  <a:gd name="T18" fmla="*/ 43 w 47"/>
                  <a:gd name="T19" fmla="*/ 36 h 41"/>
                  <a:gd name="T20" fmla="*/ 47 w 47"/>
                  <a:gd name="T21" fmla="*/ 30 h 41"/>
                  <a:gd name="T22" fmla="*/ 47 w 47"/>
                  <a:gd name="T23" fmla="*/ 4 h 41"/>
                  <a:gd name="T24" fmla="*/ 43 w 47"/>
                  <a:gd name="T25" fmla="*/ 0 h 41"/>
                  <a:gd name="T26" fmla="*/ 43 w 47"/>
                  <a:gd name="T27" fmla="*/ 30 h 41"/>
                  <a:gd name="T28" fmla="*/ 5 w 47"/>
                  <a:gd name="T29" fmla="*/ 30 h 41"/>
                  <a:gd name="T30" fmla="*/ 5 w 47"/>
                  <a:gd name="T31" fmla="*/ 4 h 41"/>
                  <a:gd name="T32" fmla="*/ 43 w 47"/>
                  <a:gd name="T33" fmla="*/ 4 h 41"/>
                  <a:gd name="T34" fmla="*/ 43 w 47"/>
                  <a:gd name="T35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41">
                    <a:moveTo>
                      <a:pt x="43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0" y="2"/>
                      <a:pt x="0" y="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3"/>
                      <a:pt x="3" y="35"/>
                      <a:pt x="5" y="36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5" y="38"/>
                      <a:pt x="7" y="41"/>
                      <a:pt x="12" y="41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41" y="41"/>
                      <a:pt x="33" y="38"/>
                      <a:pt x="33" y="38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5" y="35"/>
                      <a:pt x="47" y="33"/>
                      <a:pt x="47" y="30"/>
                    </a:cubicBezTo>
                    <a:cubicBezTo>
                      <a:pt x="47" y="4"/>
                      <a:pt x="47" y="4"/>
                      <a:pt x="47" y="4"/>
                    </a:cubicBezTo>
                    <a:cubicBezTo>
                      <a:pt x="47" y="2"/>
                      <a:pt x="45" y="0"/>
                      <a:pt x="43" y="0"/>
                    </a:cubicBezTo>
                    <a:close/>
                    <a:moveTo>
                      <a:pt x="43" y="30"/>
                    </a:moveTo>
                    <a:cubicBezTo>
                      <a:pt x="5" y="30"/>
                      <a:pt x="5" y="30"/>
                      <a:pt x="5" y="3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3" y="4"/>
                      <a:pt x="43" y="4"/>
                      <a:pt x="43" y="4"/>
                    </a:cubicBezTo>
                    <a:lnTo>
                      <a:pt x="43" y="30"/>
                    </a:lnTo>
                    <a:close/>
                  </a:path>
                </a:pathLst>
              </a:custGeom>
              <a:solidFill>
                <a:srgbClr val="038C9F"/>
              </a:solidFill>
              <a:ln>
                <a:noFill/>
              </a:ln>
              <a:extLst/>
            </p:spPr>
            <p:txBody>
              <a:bodyPr vert="horz" wrap="square" lIns="104235" tIns="52118" rIns="104235" bIns="5211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80" name="Группа 79"/>
            <p:cNvGrpSpPr/>
            <p:nvPr/>
          </p:nvGrpSpPr>
          <p:grpSpPr>
            <a:xfrm>
              <a:off x="274984" y="4976897"/>
              <a:ext cx="5724405" cy="658054"/>
              <a:chOff x="274984" y="4976897"/>
              <a:chExt cx="5724405" cy="658054"/>
            </a:xfrm>
          </p:grpSpPr>
          <p:sp>
            <p:nvSpPr>
              <p:cNvPr id="37" name="Прямоугольник 36"/>
              <p:cNvSpPr/>
              <p:nvPr/>
            </p:nvSpPr>
            <p:spPr>
              <a:xfrm>
                <a:off x="274984" y="4976897"/>
                <a:ext cx="5724405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Теория и практика </a:t>
                </a:r>
                <a:r>
                  <a:rPr lang="ru-RU" sz="1400" b="1" spc="120" dirty="0" smtClean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периодической </a:t>
                </a: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печати</a:t>
                </a:r>
              </a:p>
            </p:txBody>
          </p:sp>
          <p:sp>
            <p:nvSpPr>
              <p:cNvPr id="68" name="Freeform 306"/>
              <p:cNvSpPr>
                <a:spLocks noEditPoints="1"/>
              </p:cNvSpPr>
              <p:nvPr/>
            </p:nvSpPr>
            <p:spPr bwMode="auto">
              <a:xfrm>
                <a:off x="516972" y="5140502"/>
                <a:ext cx="474024" cy="386967"/>
              </a:xfrm>
              <a:custGeom>
                <a:avLst/>
                <a:gdLst>
                  <a:gd name="T0" fmla="*/ 16 w 42"/>
                  <a:gd name="T1" fmla="*/ 27 h 42"/>
                  <a:gd name="T2" fmla="*/ 7 w 42"/>
                  <a:gd name="T3" fmla="*/ 23 h 42"/>
                  <a:gd name="T4" fmla="*/ 7 w 42"/>
                  <a:gd name="T5" fmla="*/ 26 h 42"/>
                  <a:gd name="T6" fmla="*/ 16 w 42"/>
                  <a:gd name="T7" fmla="*/ 30 h 42"/>
                  <a:gd name="T8" fmla="*/ 16 w 42"/>
                  <a:gd name="T9" fmla="*/ 27 h 42"/>
                  <a:gd name="T10" fmla="*/ 16 w 42"/>
                  <a:gd name="T11" fmla="*/ 17 h 42"/>
                  <a:gd name="T12" fmla="*/ 7 w 42"/>
                  <a:gd name="T13" fmla="*/ 13 h 42"/>
                  <a:gd name="T14" fmla="*/ 7 w 42"/>
                  <a:gd name="T15" fmla="*/ 16 h 42"/>
                  <a:gd name="T16" fmla="*/ 16 w 42"/>
                  <a:gd name="T17" fmla="*/ 20 h 42"/>
                  <a:gd name="T18" fmla="*/ 16 w 42"/>
                  <a:gd name="T19" fmla="*/ 17 h 42"/>
                  <a:gd name="T20" fmla="*/ 41 w 42"/>
                  <a:gd name="T21" fmla="*/ 1 h 42"/>
                  <a:gd name="T22" fmla="*/ 39 w 42"/>
                  <a:gd name="T23" fmla="*/ 0 h 42"/>
                  <a:gd name="T24" fmla="*/ 21 w 42"/>
                  <a:gd name="T25" fmla="*/ 8 h 42"/>
                  <a:gd name="T26" fmla="*/ 3 w 42"/>
                  <a:gd name="T27" fmla="*/ 0 h 42"/>
                  <a:gd name="T28" fmla="*/ 1 w 42"/>
                  <a:gd name="T29" fmla="*/ 1 h 42"/>
                  <a:gd name="T30" fmla="*/ 0 w 42"/>
                  <a:gd name="T31" fmla="*/ 3 h 42"/>
                  <a:gd name="T32" fmla="*/ 0 w 42"/>
                  <a:gd name="T33" fmla="*/ 33 h 42"/>
                  <a:gd name="T34" fmla="*/ 2 w 42"/>
                  <a:gd name="T35" fmla="*/ 35 h 42"/>
                  <a:gd name="T36" fmla="*/ 20 w 42"/>
                  <a:gd name="T37" fmla="*/ 42 h 42"/>
                  <a:gd name="T38" fmla="*/ 21 w 42"/>
                  <a:gd name="T39" fmla="*/ 42 h 42"/>
                  <a:gd name="T40" fmla="*/ 21 w 42"/>
                  <a:gd name="T41" fmla="*/ 42 h 42"/>
                  <a:gd name="T42" fmla="*/ 22 w 42"/>
                  <a:gd name="T43" fmla="*/ 42 h 42"/>
                  <a:gd name="T44" fmla="*/ 22 w 42"/>
                  <a:gd name="T45" fmla="*/ 42 h 42"/>
                  <a:gd name="T46" fmla="*/ 41 w 42"/>
                  <a:gd name="T47" fmla="*/ 35 h 42"/>
                  <a:gd name="T48" fmla="*/ 42 w 42"/>
                  <a:gd name="T49" fmla="*/ 33 h 42"/>
                  <a:gd name="T50" fmla="*/ 42 w 42"/>
                  <a:gd name="T51" fmla="*/ 3 h 42"/>
                  <a:gd name="T52" fmla="*/ 41 w 42"/>
                  <a:gd name="T53" fmla="*/ 1 h 42"/>
                  <a:gd name="T54" fmla="*/ 19 w 42"/>
                  <a:gd name="T55" fmla="*/ 38 h 42"/>
                  <a:gd name="T56" fmla="*/ 4 w 42"/>
                  <a:gd name="T57" fmla="*/ 32 h 42"/>
                  <a:gd name="T58" fmla="*/ 4 w 42"/>
                  <a:gd name="T59" fmla="*/ 5 h 42"/>
                  <a:gd name="T60" fmla="*/ 19 w 42"/>
                  <a:gd name="T61" fmla="*/ 11 h 42"/>
                  <a:gd name="T62" fmla="*/ 19 w 42"/>
                  <a:gd name="T63" fmla="*/ 38 h 42"/>
                  <a:gd name="T64" fmla="*/ 39 w 42"/>
                  <a:gd name="T65" fmla="*/ 32 h 42"/>
                  <a:gd name="T66" fmla="*/ 24 w 42"/>
                  <a:gd name="T67" fmla="*/ 38 h 42"/>
                  <a:gd name="T68" fmla="*/ 24 w 42"/>
                  <a:gd name="T69" fmla="*/ 11 h 42"/>
                  <a:gd name="T70" fmla="*/ 39 w 42"/>
                  <a:gd name="T71" fmla="*/ 5 h 42"/>
                  <a:gd name="T72" fmla="*/ 39 w 42"/>
                  <a:gd name="T73" fmla="*/ 32 h 42"/>
                  <a:gd name="T74" fmla="*/ 36 w 42"/>
                  <a:gd name="T75" fmla="*/ 23 h 42"/>
                  <a:gd name="T76" fmla="*/ 26 w 42"/>
                  <a:gd name="T77" fmla="*/ 27 h 42"/>
                  <a:gd name="T78" fmla="*/ 26 w 42"/>
                  <a:gd name="T79" fmla="*/ 30 h 42"/>
                  <a:gd name="T80" fmla="*/ 36 w 42"/>
                  <a:gd name="T81" fmla="*/ 26 h 42"/>
                  <a:gd name="T82" fmla="*/ 36 w 42"/>
                  <a:gd name="T83" fmla="*/ 23 h 42"/>
                  <a:gd name="T84" fmla="*/ 36 w 42"/>
                  <a:gd name="T85" fmla="*/ 13 h 42"/>
                  <a:gd name="T86" fmla="*/ 26 w 42"/>
                  <a:gd name="T87" fmla="*/ 17 h 42"/>
                  <a:gd name="T88" fmla="*/ 26 w 42"/>
                  <a:gd name="T89" fmla="*/ 20 h 42"/>
                  <a:gd name="T90" fmla="*/ 36 w 42"/>
                  <a:gd name="T91" fmla="*/ 16 h 42"/>
                  <a:gd name="T92" fmla="*/ 36 w 42"/>
                  <a:gd name="T93" fmla="*/ 1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2" h="42">
                    <a:moveTo>
                      <a:pt x="16" y="27"/>
                    </a:moveTo>
                    <a:cubicBezTo>
                      <a:pt x="7" y="23"/>
                      <a:pt x="7" y="23"/>
                      <a:pt x="7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6" y="30"/>
                      <a:pt x="16" y="30"/>
                      <a:pt x="16" y="30"/>
                    </a:cubicBezTo>
                    <a:lnTo>
                      <a:pt x="16" y="27"/>
                    </a:lnTo>
                    <a:close/>
                    <a:moveTo>
                      <a:pt x="16" y="17"/>
                    </a:moveTo>
                    <a:cubicBezTo>
                      <a:pt x="7" y="13"/>
                      <a:pt x="7" y="13"/>
                      <a:pt x="7" y="13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16" y="20"/>
                      <a:pt x="16" y="20"/>
                      <a:pt x="16" y="20"/>
                    </a:cubicBezTo>
                    <a:lnTo>
                      <a:pt x="16" y="17"/>
                    </a:lnTo>
                    <a:close/>
                    <a:moveTo>
                      <a:pt x="41" y="1"/>
                    </a:moveTo>
                    <a:cubicBezTo>
                      <a:pt x="41" y="0"/>
                      <a:pt x="40" y="0"/>
                      <a:pt x="39" y="0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4"/>
                      <a:pt x="1" y="34"/>
                      <a:pt x="2" y="35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2"/>
                      <a:pt x="21" y="42"/>
                      <a:pt x="21" y="42"/>
                    </a:cubicBezTo>
                    <a:cubicBezTo>
                      <a:pt x="21" y="42"/>
                      <a:pt x="21" y="42"/>
                      <a:pt x="21" y="42"/>
                    </a:cubicBezTo>
                    <a:cubicBezTo>
                      <a:pt x="21" y="42"/>
                      <a:pt x="22" y="42"/>
                      <a:pt x="22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2" y="34"/>
                      <a:pt x="42" y="34"/>
                      <a:pt x="42" y="33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2" y="2"/>
                      <a:pt x="42" y="1"/>
                      <a:pt x="41" y="1"/>
                    </a:cubicBezTo>
                    <a:close/>
                    <a:moveTo>
                      <a:pt x="19" y="38"/>
                    </a:moveTo>
                    <a:cubicBezTo>
                      <a:pt x="4" y="32"/>
                      <a:pt x="4" y="32"/>
                      <a:pt x="4" y="32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9" y="11"/>
                      <a:pt x="19" y="11"/>
                      <a:pt x="19" y="11"/>
                    </a:cubicBezTo>
                    <a:lnTo>
                      <a:pt x="19" y="38"/>
                    </a:lnTo>
                    <a:close/>
                    <a:moveTo>
                      <a:pt x="39" y="32"/>
                    </a:move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39" y="5"/>
                      <a:pt x="39" y="5"/>
                      <a:pt x="39" y="5"/>
                    </a:cubicBezTo>
                    <a:lnTo>
                      <a:pt x="39" y="32"/>
                    </a:lnTo>
                    <a:close/>
                    <a:moveTo>
                      <a:pt x="36" y="23"/>
                    </a:move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36" y="26"/>
                      <a:pt x="36" y="26"/>
                      <a:pt x="36" y="26"/>
                    </a:cubicBezTo>
                    <a:lnTo>
                      <a:pt x="36" y="23"/>
                    </a:lnTo>
                    <a:close/>
                    <a:moveTo>
                      <a:pt x="36" y="13"/>
                    </a:move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36" y="16"/>
                      <a:pt x="36" y="16"/>
                      <a:pt x="36" y="16"/>
                    </a:cubicBezTo>
                    <a:lnTo>
                      <a:pt x="36" y="13"/>
                    </a:lnTo>
                    <a:close/>
                  </a:path>
                </a:pathLst>
              </a:custGeom>
              <a:solidFill>
                <a:srgbClr val="078EA1"/>
              </a:solidFill>
              <a:ln>
                <a:noFill/>
              </a:ln>
              <a:extLst/>
            </p:spPr>
            <p:txBody>
              <a:bodyPr vert="horz" wrap="square" lIns="104235" tIns="52118" rIns="104235" bIns="5211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82" name="Группа 81"/>
            <p:cNvGrpSpPr/>
            <p:nvPr/>
          </p:nvGrpSpPr>
          <p:grpSpPr>
            <a:xfrm>
              <a:off x="6157233" y="5777220"/>
              <a:ext cx="5778953" cy="658054"/>
              <a:chOff x="6157233" y="5777220"/>
              <a:chExt cx="5778953" cy="658054"/>
            </a:xfrm>
          </p:grpSpPr>
          <p:sp>
            <p:nvSpPr>
              <p:cNvPr id="46" name="Прямоугольник 45"/>
              <p:cNvSpPr/>
              <p:nvPr/>
            </p:nvSpPr>
            <p:spPr>
              <a:xfrm>
                <a:off x="6157233" y="5777220"/>
                <a:ext cx="5778953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Стилистика и литературное редактирование</a:t>
                </a:r>
              </a:p>
            </p:txBody>
          </p:sp>
          <p:sp>
            <p:nvSpPr>
              <p:cNvPr id="69" name="Freeform 218"/>
              <p:cNvSpPr>
                <a:spLocks noEditPoints="1"/>
              </p:cNvSpPr>
              <p:nvPr/>
            </p:nvSpPr>
            <p:spPr bwMode="auto">
              <a:xfrm>
                <a:off x="6413772" y="5904189"/>
                <a:ext cx="528774" cy="404419"/>
              </a:xfrm>
              <a:custGeom>
                <a:avLst/>
                <a:gdLst>
                  <a:gd name="T0" fmla="*/ 7 w 48"/>
                  <a:gd name="T1" fmla="*/ 32 h 47"/>
                  <a:gd name="T2" fmla="*/ 2 w 48"/>
                  <a:gd name="T3" fmla="*/ 44 h 47"/>
                  <a:gd name="T4" fmla="*/ 16 w 48"/>
                  <a:gd name="T5" fmla="*/ 41 h 47"/>
                  <a:gd name="T6" fmla="*/ 15 w 48"/>
                  <a:gd name="T7" fmla="*/ 33 h 47"/>
                  <a:gd name="T8" fmla="*/ 7 w 48"/>
                  <a:gd name="T9" fmla="*/ 32 h 47"/>
                  <a:gd name="T10" fmla="*/ 46 w 48"/>
                  <a:gd name="T11" fmla="*/ 2 h 47"/>
                  <a:gd name="T12" fmla="*/ 18 w 48"/>
                  <a:gd name="T13" fmla="*/ 22 h 47"/>
                  <a:gd name="T14" fmla="*/ 13 w 48"/>
                  <a:gd name="T15" fmla="*/ 27 h 47"/>
                  <a:gd name="T16" fmla="*/ 14 w 48"/>
                  <a:gd name="T17" fmla="*/ 28 h 47"/>
                  <a:gd name="T18" fmla="*/ 17 w 48"/>
                  <a:gd name="T19" fmla="*/ 30 h 47"/>
                  <a:gd name="T20" fmla="*/ 19 w 48"/>
                  <a:gd name="T21" fmla="*/ 34 h 47"/>
                  <a:gd name="T22" fmla="*/ 20 w 48"/>
                  <a:gd name="T23" fmla="*/ 34 h 47"/>
                  <a:gd name="T24" fmla="*/ 26 w 48"/>
                  <a:gd name="T25" fmla="*/ 29 h 47"/>
                  <a:gd name="T26" fmla="*/ 46 w 48"/>
                  <a:gd name="T27" fmla="*/ 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47">
                    <a:moveTo>
                      <a:pt x="7" y="32"/>
                    </a:moveTo>
                    <a:cubicBezTo>
                      <a:pt x="3" y="35"/>
                      <a:pt x="6" y="39"/>
                      <a:pt x="2" y="44"/>
                    </a:cubicBezTo>
                    <a:cubicBezTo>
                      <a:pt x="0" y="47"/>
                      <a:pt x="10" y="46"/>
                      <a:pt x="16" y="41"/>
                    </a:cubicBezTo>
                    <a:cubicBezTo>
                      <a:pt x="18" y="38"/>
                      <a:pt x="18" y="35"/>
                      <a:pt x="15" y="33"/>
                    </a:cubicBezTo>
                    <a:cubicBezTo>
                      <a:pt x="13" y="30"/>
                      <a:pt x="9" y="30"/>
                      <a:pt x="7" y="32"/>
                    </a:cubicBezTo>
                    <a:close/>
                    <a:moveTo>
                      <a:pt x="46" y="2"/>
                    </a:moveTo>
                    <a:cubicBezTo>
                      <a:pt x="44" y="0"/>
                      <a:pt x="24" y="16"/>
                      <a:pt x="18" y="22"/>
                    </a:cubicBezTo>
                    <a:cubicBezTo>
                      <a:pt x="15" y="25"/>
                      <a:pt x="14" y="26"/>
                      <a:pt x="13" y="27"/>
                    </a:cubicBezTo>
                    <a:cubicBezTo>
                      <a:pt x="13" y="28"/>
                      <a:pt x="14" y="28"/>
                      <a:pt x="14" y="28"/>
                    </a:cubicBezTo>
                    <a:cubicBezTo>
                      <a:pt x="15" y="29"/>
                      <a:pt x="16" y="29"/>
                      <a:pt x="17" y="30"/>
                    </a:cubicBezTo>
                    <a:cubicBezTo>
                      <a:pt x="18" y="32"/>
                      <a:pt x="18" y="32"/>
                      <a:pt x="19" y="34"/>
                    </a:cubicBezTo>
                    <a:cubicBezTo>
                      <a:pt x="19" y="34"/>
                      <a:pt x="19" y="34"/>
                      <a:pt x="20" y="34"/>
                    </a:cubicBezTo>
                    <a:cubicBezTo>
                      <a:pt x="21" y="33"/>
                      <a:pt x="23" y="32"/>
                      <a:pt x="26" y="29"/>
                    </a:cubicBezTo>
                    <a:cubicBezTo>
                      <a:pt x="32" y="23"/>
                      <a:pt x="48" y="3"/>
                      <a:pt x="46" y="2"/>
                    </a:cubicBezTo>
                    <a:close/>
                  </a:path>
                </a:pathLst>
              </a:custGeom>
              <a:solidFill>
                <a:srgbClr val="038C9F"/>
              </a:solidFill>
              <a:ln>
                <a:noFill/>
              </a:ln>
              <a:extLst/>
            </p:spPr>
            <p:txBody>
              <a:bodyPr vert="horz" wrap="square" lIns="104235" tIns="52118" rIns="104235" bIns="5211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73" name="Группа 72"/>
            <p:cNvGrpSpPr/>
            <p:nvPr/>
          </p:nvGrpSpPr>
          <p:grpSpPr>
            <a:xfrm>
              <a:off x="6157233" y="3277577"/>
              <a:ext cx="5778953" cy="658054"/>
              <a:chOff x="6157233" y="3277577"/>
              <a:chExt cx="5778953" cy="658054"/>
            </a:xfrm>
          </p:grpSpPr>
          <p:sp>
            <p:nvSpPr>
              <p:cNvPr id="28" name="Прямоугольник 27"/>
              <p:cNvSpPr/>
              <p:nvPr/>
            </p:nvSpPr>
            <p:spPr>
              <a:xfrm>
                <a:off x="6157233" y="3277577"/>
                <a:ext cx="5778953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Интернет-журналистика</a:t>
                </a:r>
              </a:p>
            </p:txBody>
          </p:sp>
          <p:sp>
            <p:nvSpPr>
              <p:cNvPr id="70" name="Freeform 322"/>
              <p:cNvSpPr>
                <a:spLocks noEditPoints="1"/>
              </p:cNvSpPr>
              <p:nvPr/>
            </p:nvSpPr>
            <p:spPr bwMode="auto">
              <a:xfrm>
                <a:off x="6501026" y="3376251"/>
                <a:ext cx="371248" cy="457047"/>
              </a:xfrm>
              <a:custGeom>
                <a:avLst/>
                <a:gdLst>
                  <a:gd name="T0" fmla="*/ 104 w 120"/>
                  <a:gd name="T1" fmla="*/ 0 h 160"/>
                  <a:gd name="T2" fmla="*/ 16 w 120"/>
                  <a:gd name="T3" fmla="*/ 0 h 160"/>
                  <a:gd name="T4" fmla="*/ 0 w 120"/>
                  <a:gd name="T5" fmla="*/ 16 h 160"/>
                  <a:gd name="T6" fmla="*/ 0 w 120"/>
                  <a:gd name="T7" fmla="*/ 144 h 160"/>
                  <a:gd name="T8" fmla="*/ 16 w 120"/>
                  <a:gd name="T9" fmla="*/ 160 h 160"/>
                  <a:gd name="T10" fmla="*/ 104 w 120"/>
                  <a:gd name="T11" fmla="*/ 160 h 160"/>
                  <a:gd name="T12" fmla="*/ 120 w 120"/>
                  <a:gd name="T13" fmla="*/ 144 h 160"/>
                  <a:gd name="T14" fmla="*/ 120 w 120"/>
                  <a:gd name="T15" fmla="*/ 16 h 160"/>
                  <a:gd name="T16" fmla="*/ 104 w 120"/>
                  <a:gd name="T17" fmla="*/ 0 h 160"/>
                  <a:gd name="T18" fmla="*/ 16 w 120"/>
                  <a:gd name="T19" fmla="*/ 12 h 160"/>
                  <a:gd name="T20" fmla="*/ 104 w 120"/>
                  <a:gd name="T21" fmla="*/ 12 h 160"/>
                  <a:gd name="T22" fmla="*/ 108 w 120"/>
                  <a:gd name="T23" fmla="*/ 16 h 160"/>
                  <a:gd name="T24" fmla="*/ 108 w 120"/>
                  <a:gd name="T25" fmla="*/ 128 h 160"/>
                  <a:gd name="T26" fmla="*/ 12 w 120"/>
                  <a:gd name="T27" fmla="*/ 128 h 160"/>
                  <a:gd name="T28" fmla="*/ 12 w 120"/>
                  <a:gd name="T29" fmla="*/ 16 h 160"/>
                  <a:gd name="T30" fmla="*/ 16 w 120"/>
                  <a:gd name="T31" fmla="*/ 12 h 160"/>
                  <a:gd name="T32" fmla="*/ 52 w 120"/>
                  <a:gd name="T33" fmla="*/ 144 h 160"/>
                  <a:gd name="T34" fmla="*/ 60 w 120"/>
                  <a:gd name="T35" fmla="*/ 136 h 160"/>
                  <a:gd name="T36" fmla="*/ 68 w 120"/>
                  <a:gd name="T37" fmla="*/ 144 h 160"/>
                  <a:gd name="T38" fmla="*/ 60 w 120"/>
                  <a:gd name="T39" fmla="*/ 152 h 160"/>
                  <a:gd name="T40" fmla="*/ 52 w 120"/>
                  <a:gd name="T41" fmla="*/ 14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0" h="160">
                    <a:moveTo>
                      <a:pt x="104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53"/>
                      <a:pt x="7" y="160"/>
                      <a:pt x="16" y="160"/>
                    </a:cubicBezTo>
                    <a:cubicBezTo>
                      <a:pt x="104" y="160"/>
                      <a:pt x="104" y="160"/>
                      <a:pt x="104" y="160"/>
                    </a:cubicBezTo>
                    <a:cubicBezTo>
                      <a:pt x="113" y="160"/>
                      <a:pt x="120" y="153"/>
                      <a:pt x="120" y="144"/>
                    </a:cubicBezTo>
                    <a:cubicBezTo>
                      <a:pt x="120" y="16"/>
                      <a:pt x="120" y="16"/>
                      <a:pt x="120" y="16"/>
                    </a:cubicBezTo>
                    <a:cubicBezTo>
                      <a:pt x="120" y="7"/>
                      <a:pt x="113" y="0"/>
                      <a:pt x="104" y="0"/>
                    </a:cubicBezTo>
                    <a:close/>
                    <a:moveTo>
                      <a:pt x="16" y="12"/>
                    </a:moveTo>
                    <a:cubicBezTo>
                      <a:pt x="104" y="12"/>
                      <a:pt x="104" y="12"/>
                      <a:pt x="104" y="12"/>
                    </a:cubicBezTo>
                    <a:cubicBezTo>
                      <a:pt x="106" y="12"/>
                      <a:pt x="108" y="14"/>
                      <a:pt x="108" y="16"/>
                    </a:cubicBezTo>
                    <a:cubicBezTo>
                      <a:pt x="108" y="128"/>
                      <a:pt x="108" y="128"/>
                      <a:pt x="108" y="128"/>
                    </a:cubicBezTo>
                    <a:cubicBezTo>
                      <a:pt x="12" y="128"/>
                      <a:pt x="12" y="128"/>
                      <a:pt x="12" y="128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4"/>
                      <a:pt x="14" y="12"/>
                      <a:pt x="16" y="12"/>
                    </a:cubicBezTo>
                    <a:close/>
                    <a:moveTo>
                      <a:pt x="52" y="144"/>
                    </a:moveTo>
                    <a:cubicBezTo>
                      <a:pt x="52" y="139"/>
                      <a:pt x="56" y="136"/>
                      <a:pt x="60" y="136"/>
                    </a:cubicBezTo>
                    <a:cubicBezTo>
                      <a:pt x="64" y="136"/>
                      <a:pt x="68" y="139"/>
                      <a:pt x="68" y="144"/>
                    </a:cubicBezTo>
                    <a:cubicBezTo>
                      <a:pt x="68" y="148"/>
                      <a:pt x="64" y="152"/>
                      <a:pt x="60" y="152"/>
                    </a:cubicBezTo>
                    <a:cubicBezTo>
                      <a:pt x="56" y="152"/>
                      <a:pt x="52" y="148"/>
                      <a:pt x="52" y="144"/>
                    </a:cubicBezTo>
                    <a:close/>
                  </a:path>
                </a:pathLst>
              </a:custGeom>
              <a:solidFill>
                <a:srgbClr val="078EA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8" name="Группа 77"/>
            <p:cNvGrpSpPr/>
            <p:nvPr/>
          </p:nvGrpSpPr>
          <p:grpSpPr>
            <a:xfrm>
              <a:off x="6157233" y="4077900"/>
              <a:ext cx="5778953" cy="658054"/>
              <a:chOff x="6157233" y="4077900"/>
              <a:chExt cx="5778953" cy="658054"/>
            </a:xfrm>
          </p:grpSpPr>
          <p:sp>
            <p:nvSpPr>
              <p:cNvPr id="34" name="Прямоугольник 33"/>
              <p:cNvSpPr/>
              <p:nvPr/>
            </p:nvSpPr>
            <p:spPr>
              <a:xfrm>
                <a:off x="6157233" y="4077900"/>
                <a:ext cx="5778953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Техника и технология </a:t>
                </a:r>
                <a:r>
                  <a:rPr lang="ru-RU" sz="1400" b="1" spc="120" dirty="0" smtClean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СМИ</a:t>
                </a:r>
                <a:endParaRPr lang="ru-RU" sz="1400" b="1" spc="120" dirty="0">
                  <a:solidFill>
                    <a:srgbClr val="0A90A2"/>
                  </a:solidFill>
                  <a:latin typeface="Arial" panose="020B0604020202020204" pitchFamily="34" charset="0"/>
                  <a:cs typeface="Aharoni" panose="02010803020104030203" pitchFamily="2" charset="-79"/>
                </a:endParaRPr>
              </a:p>
            </p:txBody>
          </p:sp>
          <p:sp>
            <p:nvSpPr>
              <p:cNvPr id="71" name="Freeform 226"/>
              <p:cNvSpPr>
                <a:spLocks noEditPoints="1"/>
              </p:cNvSpPr>
              <p:nvPr/>
            </p:nvSpPr>
            <p:spPr bwMode="auto">
              <a:xfrm>
                <a:off x="6502489" y="4191852"/>
                <a:ext cx="440057" cy="431243"/>
              </a:xfrm>
              <a:custGeom>
                <a:avLst/>
                <a:gdLst>
                  <a:gd name="T0" fmla="*/ 41 w 42"/>
                  <a:gd name="T1" fmla="*/ 0 h 38"/>
                  <a:gd name="T2" fmla="*/ 1 w 42"/>
                  <a:gd name="T3" fmla="*/ 0 h 38"/>
                  <a:gd name="T4" fmla="*/ 0 w 42"/>
                  <a:gd name="T5" fmla="*/ 2 h 38"/>
                  <a:gd name="T6" fmla="*/ 0 w 42"/>
                  <a:gd name="T7" fmla="*/ 7 h 38"/>
                  <a:gd name="T8" fmla="*/ 42 w 42"/>
                  <a:gd name="T9" fmla="*/ 7 h 38"/>
                  <a:gd name="T10" fmla="*/ 42 w 42"/>
                  <a:gd name="T11" fmla="*/ 2 h 38"/>
                  <a:gd name="T12" fmla="*/ 41 w 42"/>
                  <a:gd name="T13" fmla="*/ 0 h 38"/>
                  <a:gd name="T14" fmla="*/ 2 w 42"/>
                  <a:gd name="T15" fmla="*/ 35 h 38"/>
                  <a:gd name="T16" fmla="*/ 5 w 42"/>
                  <a:gd name="T17" fmla="*/ 38 h 38"/>
                  <a:gd name="T18" fmla="*/ 36 w 42"/>
                  <a:gd name="T19" fmla="*/ 38 h 38"/>
                  <a:gd name="T20" fmla="*/ 40 w 42"/>
                  <a:gd name="T21" fmla="*/ 35 h 38"/>
                  <a:gd name="T22" fmla="*/ 40 w 42"/>
                  <a:gd name="T23" fmla="*/ 10 h 38"/>
                  <a:gd name="T24" fmla="*/ 2 w 42"/>
                  <a:gd name="T25" fmla="*/ 10 h 38"/>
                  <a:gd name="T26" fmla="*/ 2 w 42"/>
                  <a:gd name="T27" fmla="*/ 35 h 38"/>
                  <a:gd name="T28" fmla="*/ 14 w 42"/>
                  <a:gd name="T29" fmla="*/ 14 h 38"/>
                  <a:gd name="T30" fmla="*/ 28 w 42"/>
                  <a:gd name="T31" fmla="*/ 14 h 38"/>
                  <a:gd name="T32" fmla="*/ 28 w 42"/>
                  <a:gd name="T33" fmla="*/ 19 h 38"/>
                  <a:gd name="T34" fmla="*/ 14 w 42"/>
                  <a:gd name="T35" fmla="*/ 19 h 38"/>
                  <a:gd name="T36" fmla="*/ 14 w 42"/>
                  <a:gd name="T37" fmla="*/ 1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38">
                    <a:moveTo>
                      <a:pt x="4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42" y="1"/>
                      <a:pt x="41" y="0"/>
                      <a:pt x="41" y="0"/>
                    </a:cubicBezTo>
                    <a:close/>
                    <a:moveTo>
                      <a:pt x="2" y="35"/>
                    </a:moveTo>
                    <a:cubicBezTo>
                      <a:pt x="2" y="36"/>
                      <a:pt x="4" y="38"/>
                      <a:pt x="5" y="38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8" y="38"/>
                      <a:pt x="40" y="36"/>
                      <a:pt x="40" y="35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2" y="10"/>
                      <a:pt x="2" y="10"/>
                      <a:pt x="2" y="10"/>
                    </a:cubicBezTo>
                    <a:lnTo>
                      <a:pt x="2" y="35"/>
                    </a:lnTo>
                    <a:close/>
                    <a:moveTo>
                      <a:pt x="14" y="14"/>
                    </a:moveTo>
                    <a:cubicBezTo>
                      <a:pt x="28" y="14"/>
                      <a:pt x="28" y="14"/>
                      <a:pt x="28" y="14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14" y="19"/>
                      <a:pt x="14" y="19"/>
                      <a:pt x="14" y="19"/>
                    </a:cubicBezTo>
                    <a:lnTo>
                      <a:pt x="14" y="14"/>
                    </a:lnTo>
                    <a:close/>
                  </a:path>
                </a:pathLst>
              </a:custGeom>
              <a:solidFill>
                <a:srgbClr val="048D9F"/>
              </a:solidFill>
              <a:ln>
                <a:noFill/>
              </a:ln>
              <a:extLst/>
            </p:spPr>
            <p:txBody>
              <a:bodyPr vert="horz" wrap="square" lIns="104235" tIns="52118" rIns="104235" bIns="5211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79" name="Группа 78"/>
            <p:cNvGrpSpPr/>
            <p:nvPr/>
          </p:nvGrpSpPr>
          <p:grpSpPr>
            <a:xfrm>
              <a:off x="6157233" y="4976897"/>
              <a:ext cx="5778953" cy="658054"/>
              <a:chOff x="6157233" y="4976897"/>
              <a:chExt cx="5778953" cy="658054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6157233" y="4976897"/>
                <a:ext cx="5778953" cy="658054"/>
              </a:xfrm>
              <a:prstGeom prst="rect">
                <a:avLst/>
              </a:prstGeom>
              <a:noFill/>
              <a:ln w="38100" cap="sq">
                <a:solidFill>
                  <a:srgbClr val="038D9F"/>
                </a:solidFill>
              </a:ln>
              <a:effectLst>
                <a:glow rad="38100">
                  <a:schemeClr val="accent1">
                    <a:satMod val="175000"/>
                    <a:alpha val="27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126000" rtlCol="0" anchor="ctr"/>
              <a:lstStyle/>
              <a:p>
                <a:pPr algn="r">
                  <a:lnSpc>
                    <a:spcPct val="107000"/>
                  </a:lnSpc>
                  <a:spcAft>
                    <a:spcPts val="750"/>
                  </a:spcAft>
                </a:pPr>
                <a:r>
                  <a:rPr lang="ru-RU" sz="1400" b="1" spc="120" dirty="0">
                    <a:solidFill>
                      <a:srgbClr val="0A90A2"/>
                    </a:solidFill>
                    <a:latin typeface="Arial" panose="020B0604020202020204" pitchFamily="34" charset="0"/>
                    <a:cs typeface="Aharoni" panose="02010803020104030203" pitchFamily="2" charset="-79"/>
                  </a:rPr>
                  <a:t>Дизайн военного издания</a:t>
                </a:r>
              </a:p>
            </p:txBody>
          </p:sp>
          <p:sp>
            <p:nvSpPr>
              <p:cNvPr id="72" name="Freeform 198"/>
              <p:cNvSpPr>
                <a:spLocks noEditPoints="1"/>
              </p:cNvSpPr>
              <p:nvPr/>
            </p:nvSpPr>
            <p:spPr bwMode="auto">
              <a:xfrm>
                <a:off x="6504495" y="5124248"/>
                <a:ext cx="436043" cy="380107"/>
              </a:xfrm>
              <a:custGeom>
                <a:avLst/>
                <a:gdLst>
                  <a:gd name="T0" fmla="*/ 46 w 48"/>
                  <a:gd name="T1" fmla="*/ 20 h 35"/>
                  <a:gd name="T2" fmla="*/ 35 w 48"/>
                  <a:gd name="T3" fmla="*/ 13 h 35"/>
                  <a:gd name="T4" fmla="*/ 35 w 48"/>
                  <a:gd name="T5" fmla="*/ 13 h 35"/>
                  <a:gd name="T6" fmla="*/ 35 w 48"/>
                  <a:gd name="T7" fmla="*/ 8 h 35"/>
                  <a:gd name="T8" fmla="*/ 43 w 48"/>
                  <a:gd name="T9" fmla="*/ 7 h 35"/>
                  <a:gd name="T10" fmla="*/ 43 w 48"/>
                  <a:gd name="T11" fmla="*/ 6 h 35"/>
                  <a:gd name="T12" fmla="*/ 43 w 48"/>
                  <a:gd name="T13" fmla="*/ 4 h 35"/>
                  <a:gd name="T14" fmla="*/ 42 w 48"/>
                  <a:gd name="T15" fmla="*/ 4 h 35"/>
                  <a:gd name="T16" fmla="*/ 35 w 48"/>
                  <a:gd name="T17" fmla="*/ 5 h 35"/>
                  <a:gd name="T18" fmla="*/ 35 w 48"/>
                  <a:gd name="T19" fmla="*/ 0 h 35"/>
                  <a:gd name="T20" fmla="*/ 34 w 48"/>
                  <a:gd name="T21" fmla="*/ 0 h 35"/>
                  <a:gd name="T22" fmla="*/ 32 w 48"/>
                  <a:gd name="T23" fmla="*/ 0 h 35"/>
                  <a:gd name="T24" fmla="*/ 31 w 48"/>
                  <a:gd name="T25" fmla="*/ 0 h 35"/>
                  <a:gd name="T26" fmla="*/ 31 w 48"/>
                  <a:gd name="T27" fmla="*/ 5 h 35"/>
                  <a:gd name="T28" fmla="*/ 24 w 48"/>
                  <a:gd name="T29" fmla="*/ 7 h 35"/>
                  <a:gd name="T30" fmla="*/ 24 w 48"/>
                  <a:gd name="T31" fmla="*/ 7 h 35"/>
                  <a:gd name="T32" fmla="*/ 24 w 48"/>
                  <a:gd name="T33" fmla="*/ 10 h 35"/>
                  <a:gd name="T34" fmla="*/ 25 w 48"/>
                  <a:gd name="T35" fmla="*/ 10 h 35"/>
                  <a:gd name="T36" fmla="*/ 31 w 48"/>
                  <a:gd name="T37" fmla="*/ 9 h 35"/>
                  <a:gd name="T38" fmla="*/ 31 w 48"/>
                  <a:gd name="T39" fmla="*/ 14 h 35"/>
                  <a:gd name="T40" fmla="*/ 26 w 48"/>
                  <a:gd name="T41" fmla="*/ 17 h 35"/>
                  <a:gd name="T42" fmla="*/ 23 w 48"/>
                  <a:gd name="T43" fmla="*/ 24 h 35"/>
                  <a:gd name="T44" fmla="*/ 29 w 48"/>
                  <a:gd name="T45" fmla="*/ 30 h 35"/>
                  <a:gd name="T46" fmla="*/ 42 w 48"/>
                  <a:gd name="T47" fmla="*/ 19 h 35"/>
                  <a:gd name="T48" fmla="*/ 37 w 48"/>
                  <a:gd name="T49" fmla="*/ 33 h 35"/>
                  <a:gd name="T50" fmla="*/ 37 w 48"/>
                  <a:gd name="T51" fmla="*/ 33 h 35"/>
                  <a:gd name="T52" fmla="*/ 39 w 48"/>
                  <a:gd name="T53" fmla="*/ 35 h 35"/>
                  <a:gd name="T54" fmla="*/ 39 w 48"/>
                  <a:gd name="T55" fmla="*/ 35 h 35"/>
                  <a:gd name="T56" fmla="*/ 46 w 48"/>
                  <a:gd name="T57" fmla="*/ 20 h 35"/>
                  <a:gd name="T58" fmla="*/ 29 w 48"/>
                  <a:gd name="T59" fmla="*/ 27 h 35"/>
                  <a:gd name="T60" fmla="*/ 27 w 48"/>
                  <a:gd name="T61" fmla="*/ 24 h 35"/>
                  <a:gd name="T62" fmla="*/ 29 w 48"/>
                  <a:gd name="T63" fmla="*/ 19 h 35"/>
                  <a:gd name="T64" fmla="*/ 32 w 48"/>
                  <a:gd name="T65" fmla="*/ 17 h 35"/>
                  <a:gd name="T66" fmla="*/ 32 w 48"/>
                  <a:gd name="T67" fmla="*/ 27 h 35"/>
                  <a:gd name="T68" fmla="*/ 29 w 48"/>
                  <a:gd name="T69" fmla="*/ 27 h 35"/>
                  <a:gd name="T70" fmla="*/ 35 w 48"/>
                  <a:gd name="T71" fmla="*/ 26 h 35"/>
                  <a:gd name="T72" fmla="*/ 35 w 48"/>
                  <a:gd name="T73" fmla="*/ 16 h 35"/>
                  <a:gd name="T74" fmla="*/ 35 w 48"/>
                  <a:gd name="T75" fmla="*/ 16 h 35"/>
                  <a:gd name="T76" fmla="*/ 40 w 48"/>
                  <a:gd name="T77" fmla="*/ 17 h 35"/>
                  <a:gd name="T78" fmla="*/ 35 w 48"/>
                  <a:gd name="T79" fmla="*/ 26 h 35"/>
                  <a:gd name="T80" fmla="*/ 14 w 48"/>
                  <a:gd name="T81" fmla="*/ 8 h 35"/>
                  <a:gd name="T82" fmla="*/ 13 w 48"/>
                  <a:gd name="T83" fmla="*/ 7 h 35"/>
                  <a:gd name="T84" fmla="*/ 8 w 48"/>
                  <a:gd name="T85" fmla="*/ 7 h 35"/>
                  <a:gd name="T86" fmla="*/ 8 w 48"/>
                  <a:gd name="T87" fmla="*/ 8 h 35"/>
                  <a:gd name="T88" fmla="*/ 0 w 48"/>
                  <a:gd name="T89" fmla="*/ 34 h 35"/>
                  <a:gd name="T90" fmla="*/ 0 w 48"/>
                  <a:gd name="T91" fmla="*/ 34 h 35"/>
                  <a:gd name="T92" fmla="*/ 4 w 48"/>
                  <a:gd name="T93" fmla="*/ 34 h 35"/>
                  <a:gd name="T94" fmla="*/ 4 w 48"/>
                  <a:gd name="T95" fmla="*/ 34 h 35"/>
                  <a:gd name="T96" fmla="*/ 7 w 48"/>
                  <a:gd name="T97" fmla="*/ 26 h 35"/>
                  <a:gd name="T98" fmla="*/ 15 w 48"/>
                  <a:gd name="T99" fmla="*/ 26 h 35"/>
                  <a:gd name="T100" fmla="*/ 17 w 48"/>
                  <a:gd name="T101" fmla="*/ 34 h 35"/>
                  <a:gd name="T102" fmla="*/ 18 w 48"/>
                  <a:gd name="T103" fmla="*/ 34 h 35"/>
                  <a:gd name="T104" fmla="*/ 22 w 48"/>
                  <a:gd name="T105" fmla="*/ 34 h 35"/>
                  <a:gd name="T106" fmla="*/ 22 w 48"/>
                  <a:gd name="T107" fmla="*/ 34 h 35"/>
                  <a:gd name="T108" fmla="*/ 14 w 48"/>
                  <a:gd name="T109" fmla="*/ 8 h 35"/>
                  <a:gd name="T110" fmla="*/ 7 w 48"/>
                  <a:gd name="T111" fmla="*/ 23 h 35"/>
                  <a:gd name="T112" fmla="*/ 11 w 48"/>
                  <a:gd name="T113" fmla="*/ 10 h 35"/>
                  <a:gd name="T114" fmla="*/ 14 w 48"/>
                  <a:gd name="T115" fmla="*/ 23 h 35"/>
                  <a:gd name="T116" fmla="*/ 7 w 48"/>
                  <a:gd name="T117" fmla="*/ 2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8" h="35">
                    <a:moveTo>
                      <a:pt x="46" y="20"/>
                    </a:moveTo>
                    <a:cubicBezTo>
                      <a:pt x="45" y="16"/>
                      <a:pt x="41" y="13"/>
                      <a:pt x="35" y="13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5" y="8"/>
                      <a:pt x="43" y="7"/>
                      <a:pt x="43" y="7"/>
                    </a:cubicBezTo>
                    <a:cubicBezTo>
                      <a:pt x="43" y="7"/>
                      <a:pt x="43" y="7"/>
                      <a:pt x="43" y="6"/>
                    </a:cubicBezTo>
                    <a:cubicBezTo>
                      <a:pt x="43" y="6"/>
                      <a:pt x="43" y="4"/>
                      <a:pt x="43" y="4"/>
                    </a:cubicBezTo>
                    <a:cubicBezTo>
                      <a:pt x="43" y="4"/>
                      <a:pt x="42" y="4"/>
                      <a:pt x="42" y="4"/>
                    </a:cubicBezTo>
                    <a:cubicBezTo>
                      <a:pt x="42" y="4"/>
                      <a:pt x="35" y="5"/>
                      <a:pt x="35" y="5"/>
                    </a:cubicBezTo>
                    <a:cubicBezTo>
                      <a:pt x="35" y="5"/>
                      <a:pt x="35" y="0"/>
                      <a:pt x="35" y="0"/>
                    </a:cubicBezTo>
                    <a:cubicBezTo>
                      <a:pt x="35" y="0"/>
                      <a:pt x="34" y="0"/>
                      <a:pt x="34" y="0"/>
                    </a:cubicBezTo>
                    <a:cubicBezTo>
                      <a:pt x="34" y="0"/>
                      <a:pt x="32" y="0"/>
                      <a:pt x="32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31" y="5"/>
                      <a:pt x="31" y="5"/>
                    </a:cubicBezTo>
                    <a:cubicBezTo>
                      <a:pt x="31" y="5"/>
                      <a:pt x="24" y="7"/>
                      <a:pt x="24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4" y="10"/>
                      <a:pt x="24" y="10"/>
                    </a:cubicBezTo>
                    <a:cubicBezTo>
                      <a:pt x="24" y="10"/>
                      <a:pt x="24" y="10"/>
                      <a:pt x="25" y="10"/>
                    </a:cubicBezTo>
                    <a:cubicBezTo>
                      <a:pt x="25" y="10"/>
                      <a:pt x="31" y="9"/>
                      <a:pt x="31" y="9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29" y="14"/>
                      <a:pt x="27" y="16"/>
                      <a:pt x="26" y="17"/>
                    </a:cubicBezTo>
                    <a:cubicBezTo>
                      <a:pt x="24" y="19"/>
                      <a:pt x="23" y="21"/>
                      <a:pt x="23" y="24"/>
                    </a:cubicBezTo>
                    <a:cubicBezTo>
                      <a:pt x="23" y="27"/>
                      <a:pt x="26" y="30"/>
                      <a:pt x="29" y="30"/>
                    </a:cubicBezTo>
                    <a:cubicBezTo>
                      <a:pt x="36" y="31"/>
                      <a:pt x="41" y="23"/>
                      <a:pt x="42" y="19"/>
                    </a:cubicBezTo>
                    <a:cubicBezTo>
                      <a:pt x="45" y="22"/>
                      <a:pt x="43" y="29"/>
                      <a:pt x="37" y="3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8" y="34"/>
                      <a:pt x="39" y="35"/>
                      <a:pt x="39" y="35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45" y="31"/>
                      <a:pt x="48" y="25"/>
                      <a:pt x="46" y="20"/>
                    </a:cubicBezTo>
                    <a:close/>
                    <a:moveTo>
                      <a:pt x="29" y="27"/>
                    </a:moveTo>
                    <a:cubicBezTo>
                      <a:pt x="27" y="27"/>
                      <a:pt x="27" y="25"/>
                      <a:pt x="27" y="24"/>
                    </a:cubicBezTo>
                    <a:cubicBezTo>
                      <a:pt x="27" y="22"/>
                      <a:pt x="27" y="20"/>
                      <a:pt x="29" y="19"/>
                    </a:cubicBezTo>
                    <a:cubicBezTo>
                      <a:pt x="29" y="18"/>
                      <a:pt x="30" y="17"/>
                      <a:pt x="32" y="17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1" y="27"/>
                      <a:pt x="30" y="27"/>
                      <a:pt x="29" y="27"/>
                    </a:cubicBezTo>
                    <a:close/>
                    <a:moveTo>
                      <a:pt x="35" y="26"/>
                    </a:move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7" y="16"/>
                      <a:pt x="39" y="16"/>
                      <a:pt x="40" y="17"/>
                    </a:cubicBezTo>
                    <a:cubicBezTo>
                      <a:pt x="41" y="17"/>
                      <a:pt x="37" y="23"/>
                      <a:pt x="35" y="26"/>
                    </a:cubicBezTo>
                    <a:close/>
                    <a:moveTo>
                      <a:pt x="14" y="8"/>
                    </a:moveTo>
                    <a:cubicBezTo>
                      <a:pt x="13" y="7"/>
                      <a:pt x="13" y="7"/>
                      <a:pt x="13" y="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7"/>
                      <a:pt x="8" y="7"/>
                      <a:pt x="8" y="8"/>
                    </a:cubicBezTo>
                    <a:cubicBezTo>
                      <a:pt x="7" y="11"/>
                      <a:pt x="0" y="33"/>
                      <a:pt x="0" y="3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4" y="33"/>
                      <a:pt x="7" y="26"/>
                      <a:pt x="7" y="26"/>
                    </a:cubicBezTo>
                    <a:cubicBezTo>
                      <a:pt x="15" y="26"/>
                      <a:pt x="15" y="26"/>
                      <a:pt x="15" y="26"/>
                    </a:cubicBezTo>
                    <a:cubicBezTo>
                      <a:pt x="15" y="26"/>
                      <a:pt x="17" y="33"/>
                      <a:pt x="17" y="34"/>
                    </a:cubicBezTo>
                    <a:cubicBezTo>
                      <a:pt x="17" y="34"/>
                      <a:pt x="17" y="34"/>
                      <a:pt x="18" y="34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22" y="33"/>
                      <a:pt x="14" y="11"/>
                      <a:pt x="14" y="8"/>
                    </a:cubicBezTo>
                    <a:close/>
                    <a:moveTo>
                      <a:pt x="7" y="23"/>
                    </a:moveTo>
                    <a:cubicBezTo>
                      <a:pt x="11" y="10"/>
                      <a:pt x="11" y="10"/>
                      <a:pt x="11" y="10"/>
                    </a:cubicBezTo>
                    <a:cubicBezTo>
                      <a:pt x="14" y="23"/>
                      <a:pt x="14" y="23"/>
                      <a:pt x="14" y="23"/>
                    </a:cubicBezTo>
                    <a:lnTo>
                      <a:pt x="7" y="23"/>
                    </a:lnTo>
                    <a:close/>
                  </a:path>
                </a:pathLst>
              </a:custGeom>
              <a:solidFill>
                <a:srgbClr val="088FA1"/>
              </a:solidFill>
              <a:ln>
                <a:noFill/>
              </a:ln>
              <a:extLst/>
            </p:spPr>
            <p:txBody>
              <a:bodyPr vert="horz" wrap="square" lIns="104235" tIns="52118" rIns="104235" bIns="5211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</p:spTree>
    <p:extLst>
      <p:ext uri="{BB962C8B-B14F-4D97-AF65-F5344CB8AC3E}">
        <p14:creationId xmlns="" xmlns:p14="http://schemas.microsoft.com/office/powerpoint/2010/main" val="1303340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7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2"/>
          <a:stretch/>
        </p:blipFill>
        <p:spPr>
          <a:xfrm>
            <a:off x="2961618" y="0"/>
            <a:ext cx="3475133" cy="3902518"/>
          </a:xfrm>
          <a:prstGeom prst="parallelogram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28706" name="think-cell Slide" r:id="rId5" imgW="360" imgH="360" progId="">
              <p:embed/>
            </p:oleObj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340156" y="536128"/>
            <a:ext cx="2440372" cy="1872734"/>
          </a:xfrm>
          <a:prstGeom prst="rect">
            <a:avLst/>
          </a:prstGeom>
          <a:solidFill>
            <a:srgbClr val="00978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</a:rPr>
              <a:t>Практики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40155" y="5984715"/>
            <a:ext cx="11851845" cy="561473"/>
          </a:xfrm>
          <a:prstGeom prst="rect">
            <a:avLst/>
          </a:prstGeom>
          <a:gradFill>
            <a:gsLst>
              <a:gs pos="100000">
                <a:schemeClr val="bg1"/>
              </a:gs>
              <a:gs pos="78000">
                <a:srgbClr val="009788"/>
              </a:gs>
            </a:gsLst>
            <a:lin ang="180000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/>
            <a:r>
              <a:rPr lang="ru-RU" b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санты участвуют в научно-исследовательских работах на базе кафедр и научных центров</a:t>
            </a:r>
            <a:endParaRPr lang="ru-RU" sz="1600" spc="15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961618" y="3902518"/>
            <a:ext cx="2596971" cy="192929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ресс-службах военных округов и флотов </a:t>
            </a:r>
            <a:endPara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endParaRPr lang="ru-RU" sz="1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endParaRPr lang="ru-RU" sz="1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endParaRPr lang="ru-RU" sz="1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endParaRPr lang="ru-RU" sz="1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endParaRPr lang="ru-RU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-Петербург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Екатеринбург, Хабаровск,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ов-на-Дону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евастополь, Североморск, Калининград,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адивосток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739679" y="3902518"/>
            <a:ext cx="2653207" cy="192929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72000" rtlCol="0" anchor="t" anchorCtr="0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дакции газеты 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ая звезда» и 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едакциях окружных (флотских) газет</a:t>
            </a:r>
          </a:p>
          <a:p>
            <a:pPr algn="ctr"/>
            <a:endParaRPr lang="ru-RU" sz="1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ква,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-Петербург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Екатеринбург, Хабаровск,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ов-на-Дону, Севастополь, Североморск, Калининград, Владивосток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517740" y="3902518"/>
            <a:ext cx="2686708" cy="189357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айте Минобороны России 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других 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зированных 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х</a:t>
            </a:r>
          </a:p>
          <a:p>
            <a:pPr algn="ctr"/>
            <a:endPara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ква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0155" y="2944990"/>
            <a:ext cx="2440373" cy="28868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ка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сантов</a:t>
            </a:r>
          </a:p>
          <a:p>
            <a:pPr algn="ctr">
              <a:spcBef>
                <a:spcPts val="600"/>
              </a:spcBef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Военной журналистики» </a:t>
            </a:r>
            <a:endParaRPr 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600"/>
              </a:spcBef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ланирована </a:t>
            </a:r>
          </a:p>
          <a:p>
            <a:pPr algn="ctr">
              <a:spcBef>
                <a:spcPts val="600"/>
              </a:spcBef>
            </a:pPr>
            <a:r>
              <a:rPr lang="ru-RU" sz="14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4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 4 и 5 </a:t>
            </a:r>
            <a:r>
              <a:rPr lang="ru-RU" sz="14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сах</a:t>
            </a:r>
            <a:endParaRPr 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600"/>
              </a:spcBef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олжительностью </a:t>
            </a:r>
          </a:p>
          <a:p>
            <a:pPr algn="ctr">
              <a:spcBef>
                <a:spcPts val="600"/>
              </a:spcBef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х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6-ти недель </a:t>
            </a:r>
          </a:p>
          <a:p>
            <a:pPr algn="ctr">
              <a:spcBef>
                <a:spcPts val="600"/>
              </a:spcBef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роходит в: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2961618" y="0"/>
            <a:ext cx="3475133" cy="3481362"/>
          </a:xfrm>
          <a:prstGeom prst="parallelogram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5712466" y="0"/>
            <a:ext cx="3529506" cy="3485347"/>
          </a:xfrm>
          <a:prstGeom prst="parallelogram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5789"/>
          <a:stretch/>
        </p:blipFill>
        <p:spPr>
          <a:xfrm>
            <a:off x="8516762" y="-15512"/>
            <a:ext cx="3455512" cy="3496874"/>
          </a:xfrm>
          <a:prstGeom prst="parallelogram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56459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7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2"/>
          <a:stretch/>
        </p:blipFill>
        <p:spPr>
          <a:xfrm>
            <a:off x="2961618" y="0"/>
            <a:ext cx="3475133" cy="3902518"/>
          </a:xfrm>
          <a:prstGeom prst="parallelogram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27689" name="think-cell Slide" r:id="rId5" imgW="360" imgH="360" progId="">
              <p:embed/>
            </p:oleObj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t="-252"/>
          <a:stretch/>
        </p:blipFill>
        <p:spPr>
          <a:xfrm>
            <a:off x="8553787" y="-12032"/>
            <a:ext cx="3418487" cy="39145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5739679" y="-8"/>
            <a:ext cx="3493930" cy="3902527"/>
          </a:xfrm>
          <a:prstGeom prst="parallelogram">
            <a:avLst/>
          </a:prstGeom>
          <a:effectLst>
            <a:outerShdw blurRad="1016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Прямоугольник 9"/>
          <p:cNvSpPr/>
          <p:nvPr/>
        </p:nvSpPr>
        <p:spPr>
          <a:xfrm>
            <a:off x="340155" y="536128"/>
            <a:ext cx="2440373" cy="1872734"/>
          </a:xfrm>
          <a:prstGeom prst="rect">
            <a:avLst/>
          </a:prstGeom>
          <a:solidFill>
            <a:srgbClr val="673BB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    Стажировки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b="-478"/>
          <a:stretch/>
        </p:blipFill>
        <p:spPr>
          <a:xfrm>
            <a:off x="3001013" y="-11"/>
            <a:ext cx="3396344" cy="3902529"/>
          </a:xfrm>
          <a:prstGeom prst="parallelogram">
            <a:avLst>
              <a:gd name="adj" fmla="val 24519"/>
            </a:avLst>
          </a:prstGeom>
          <a:effectLst>
            <a:outerShdw blurRad="152400" dist="38100" dir="2700000" algn="tl" rotWithShape="0">
              <a:schemeClr val="tx1">
                <a:alpha val="40000"/>
              </a:schemeClr>
            </a:outerShdw>
          </a:effectLst>
        </p:spPr>
      </p:pic>
      <p:sp>
        <p:nvSpPr>
          <p:cNvPr id="13" name="Прямоугольник 12"/>
          <p:cNvSpPr/>
          <p:nvPr/>
        </p:nvSpPr>
        <p:spPr>
          <a:xfrm>
            <a:off x="2961618" y="4303800"/>
            <a:ext cx="2596971" cy="226028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90000"/>
              </a:lnSpc>
              <a:spcBef>
                <a:spcPts val="1000"/>
              </a:spcBef>
            </a:pPr>
            <a:r>
              <a:rPr lang="ru-RU" sz="1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ждународный военно-технический форум «Армия»</a:t>
            </a:r>
          </a:p>
          <a:p>
            <a:pPr lvl="0" algn="ctr">
              <a:lnSpc>
                <a:spcPct val="90000"/>
              </a:lnSpc>
              <a:spcBef>
                <a:spcPts val="1000"/>
              </a:spcBef>
            </a:pPr>
            <a:r>
              <a:rPr lang="ru-RU" sz="12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в 2019 г. - более </a:t>
            </a:r>
            <a:r>
              <a:rPr lang="ru-RU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0 участников, на выставке представлено более 27 тыс. экспонатов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739679" y="4276232"/>
            <a:ext cx="2653207" cy="22878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Московская конференция по международной </a:t>
            </a:r>
            <a:r>
              <a:rPr lang="ru-RU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езопасности» </a:t>
            </a:r>
            <a:endParaRPr lang="ru-RU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в 2019 г. - 35 министров обороны и </a:t>
            </a:r>
            <a:r>
              <a:rPr lang="ru-RU" sz="12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лавнокомандующих ВС</a:t>
            </a:r>
            <a:r>
              <a:rPr lang="ru-RU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 всего мира)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517740" y="4268084"/>
            <a:ext cx="2659645" cy="22960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рмейские международные </a:t>
            </a:r>
            <a:r>
              <a:rPr lang="ru-RU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гры</a:t>
            </a:r>
          </a:p>
          <a:p>
            <a:pPr algn="ctr"/>
            <a:endParaRPr lang="ru-RU" sz="1200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в 2019 г. - 36 </a:t>
            </a:r>
            <a:r>
              <a:rPr lang="ru-RU" sz="12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сударств-участников, свыше 5 тыс. военнослужащих-участников)</a:t>
            </a:r>
            <a:endParaRPr lang="ru-RU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0155" y="2944990"/>
            <a:ext cx="2440373" cy="361909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тарших курсах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санты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каются к информационному обеспечению крупных международных мероприятий, проводимых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обороны России</a:t>
            </a:r>
            <a:b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качестве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жеров) </a:t>
            </a:r>
          </a:p>
        </p:txBody>
      </p:sp>
    </p:spTree>
    <p:extLst>
      <p:ext uri="{BB962C8B-B14F-4D97-AF65-F5344CB8AC3E}">
        <p14:creationId xmlns="" xmlns:p14="http://schemas.microsoft.com/office/powerpoint/2010/main" val="1976268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E54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2"/>
          <a:stretch/>
        </p:blipFill>
        <p:spPr>
          <a:xfrm>
            <a:off x="2961618" y="0"/>
            <a:ext cx="3475133" cy="3902518"/>
          </a:xfrm>
          <a:prstGeom prst="parallelogram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33815" name="think-cell Slide" r:id="rId5" imgW="360" imgH="360" progId="">
              <p:embed/>
            </p:oleObj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0" y="0"/>
            <a:ext cx="12192000" cy="52088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340155" y="536128"/>
            <a:ext cx="2843916" cy="2725619"/>
          </a:xfrm>
          <a:prstGeom prst="rect">
            <a:avLst/>
          </a:prstGeom>
          <a:solidFill>
            <a:srgbClr val="7E542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    Государственная  </a:t>
            </a:r>
          </a:p>
          <a:p>
            <a:r>
              <a:rPr lang="ru-RU" sz="2400" b="1" dirty="0">
                <a:solidFill>
                  <a:schemeClr val="bg1"/>
                </a:solidFill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</a:rPr>
              <a:t>   итоговая  </a:t>
            </a:r>
          </a:p>
          <a:p>
            <a:r>
              <a:rPr lang="ru-RU" sz="2400" b="1" dirty="0">
                <a:solidFill>
                  <a:schemeClr val="bg1"/>
                </a:solidFill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</a:rPr>
              <a:t>   аттестац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813722" y="5523232"/>
            <a:ext cx="757805" cy="4239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1" name="Группа 10"/>
          <p:cNvGrpSpPr/>
          <p:nvPr/>
        </p:nvGrpSpPr>
        <p:grpSpPr>
          <a:xfrm>
            <a:off x="813722" y="4057751"/>
            <a:ext cx="11119757" cy="2616544"/>
            <a:chOff x="767443" y="4029185"/>
            <a:chExt cx="11119757" cy="2616544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767443" y="4029185"/>
              <a:ext cx="11119757" cy="2616544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>
                  <a:solidFill>
                    <a:schemeClr val="accent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000" b="1" dirty="0" smtClean="0">
                  <a:solidFill>
                    <a:schemeClr val="accent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r>
                <a:rPr lang="ru-RU" sz="2000" b="1" dirty="0" smtClean="0">
                  <a:solidFill>
                    <a:schemeClr val="accent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000" b="1" dirty="0" smtClean="0">
                  <a:solidFill>
                    <a:schemeClr val="accent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</a:t>
              </a:r>
              <a:endParaRPr lang="ru-RU" sz="2000" b="1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2000" b="1" spc="130" dirty="0">
                  <a:solidFill>
                    <a:schemeClr val="accent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00" b="1" spc="130" dirty="0" smtClean="0">
                  <a:solidFill>
                    <a:schemeClr val="accent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</a:t>
              </a:r>
              <a:endParaRPr lang="ru-RU" sz="16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60000"/>
              <a:r>
                <a:rPr lang="en-US" sz="2000" b="1" dirty="0">
                  <a:solidFill>
                    <a:schemeClr val="accent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000" b="1" dirty="0" smtClean="0">
                  <a:solidFill>
                    <a:schemeClr val="accent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</a:t>
              </a:r>
              <a:endParaRPr lang="ru-RU" sz="1600" b="1" spc="130" dirty="0">
                <a:solidFill>
                  <a:schemeClr val="accent2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  <a:p>
              <a:pPr marL="360000"/>
              <a:r>
                <a:rPr lang="ru-RU" sz="2400" b="1" spc="130" dirty="0" smtClean="0">
                  <a:solidFill>
                    <a:schemeClr val="accent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        </a:t>
              </a:r>
              <a:endParaRPr lang="ru-RU" sz="2400" b="1" spc="160" dirty="0">
                <a:solidFill>
                  <a:schemeClr val="accent2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  <a:p>
              <a:pPr marL="360000"/>
              <a:endParaRPr lang="en-US" sz="2400" b="1" spc="160" dirty="0">
                <a:solidFill>
                  <a:schemeClr val="accent2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1943535" y="4488459"/>
              <a:ext cx="6564085" cy="4239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b="1" spc="160" dirty="0" smtClean="0">
                  <a:solidFill>
                    <a:schemeClr val="accent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ru-RU" sz="2400" b="1" spc="160" dirty="0" smtClean="0">
                  <a:solidFill>
                    <a:srgbClr val="00BBD4"/>
                  </a:solidFill>
                  <a:latin typeface="+mj-lt"/>
                  <a:cs typeface="Arial" panose="020B0604020202020204" pitchFamily="34" charset="0"/>
                </a:rPr>
                <a:t>сдача </a:t>
              </a:r>
              <a:r>
                <a:rPr lang="ru-RU" sz="2400" b="1" spc="160" dirty="0">
                  <a:solidFill>
                    <a:srgbClr val="00BBD4"/>
                  </a:solidFill>
                  <a:latin typeface="+mj-lt"/>
                  <a:cs typeface="Arial" panose="020B0604020202020204" pitchFamily="34" charset="0"/>
                </a:rPr>
                <a:t>экзамена по физической подготовке</a:t>
              </a:r>
            </a:p>
            <a:p>
              <a:pPr algn="ctr"/>
              <a:endParaRPr lang="ru-RU" sz="2400" dirty="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1820812" y="5329179"/>
              <a:ext cx="7745184" cy="4239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b="1" spc="160" dirty="0">
                  <a:solidFill>
                    <a:srgbClr val="00BBD4"/>
                  </a:solidFill>
                  <a:latin typeface="+mj-lt"/>
                  <a:cs typeface="Arial" panose="020B0604020202020204" pitchFamily="34" charset="0"/>
                </a:rPr>
                <a:t>сдача комплексного экзамена по специальности</a:t>
              </a:r>
            </a:p>
            <a:p>
              <a:pPr algn="ctr"/>
              <a:endParaRPr lang="ru-RU" sz="2400" dirty="0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943535" y="5930092"/>
              <a:ext cx="9843382" cy="4239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b="1" spc="160" dirty="0">
                  <a:solidFill>
                    <a:srgbClr val="00BBD4"/>
                  </a:solidFill>
                  <a:latin typeface="+mj-lt"/>
                  <a:cs typeface="Arial" panose="020B0604020202020204" pitchFamily="34" charset="0"/>
                </a:rPr>
                <a:t>выполнение индивидуального (группового) дипломного проекта</a:t>
              </a:r>
            </a:p>
          </p:txBody>
        </p:sp>
        <p:sp>
          <p:nvSpPr>
            <p:cNvPr id="25" name="Freeform 188"/>
            <p:cNvSpPr>
              <a:spLocks noEditPoints="1"/>
            </p:cNvSpPr>
            <p:nvPr/>
          </p:nvSpPr>
          <p:spPr bwMode="auto">
            <a:xfrm>
              <a:off x="1280839" y="4351341"/>
              <a:ext cx="487152" cy="377752"/>
            </a:xfrm>
            <a:custGeom>
              <a:avLst/>
              <a:gdLst>
                <a:gd name="T0" fmla="*/ 25 w 44"/>
                <a:gd name="T1" fmla="*/ 0 h 39"/>
                <a:gd name="T2" fmla="*/ 5 w 44"/>
                <a:gd name="T3" fmla="*/ 19 h 39"/>
                <a:gd name="T4" fmla="*/ 0 w 44"/>
                <a:gd name="T5" fmla="*/ 19 h 39"/>
                <a:gd name="T6" fmla="*/ 8 w 44"/>
                <a:gd name="T7" fmla="*/ 29 h 39"/>
                <a:gd name="T8" fmla="*/ 17 w 44"/>
                <a:gd name="T9" fmla="*/ 19 h 39"/>
                <a:gd name="T10" fmla="*/ 10 w 44"/>
                <a:gd name="T11" fmla="*/ 19 h 39"/>
                <a:gd name="T12" fmla="*/ 25 w 44"/>
                <a:gd name="T13" fmla="*/ 5 h 39"/>
                <a:gd name="T14" fmla="*/ 39 w 44"/>
                <a:gd name="T15" fmla="*/ 20 h 39"/>
                <a:gd name="T16" fmla="*/ 25 w 44"/>
                <a:gd name="T17" fmla="*/ 34 h 39"/>
                <a:gd name="T18" fmla="*/ 16 w 44"/>
                <a:gd name="T19" fmla="*/ 31 h 39"/>
                <a:gd name="T20" fmla="*/ 13 w 44"/>
                <a:gd name="T21" fmla="*/ 35 h 39"/>
                <a:gd name="T22" fmla="*/ 25 w 44"/>
                <a:gd name="T23" fmla="*/ 39 h 39"/>
                <a:gd name="T24" fmla="*/ 44 w 44"/>
                <a:gd name="T25" fmla="*/ 20 h 39"/>
                <a:gd name="T26" fmla="*/ 25 w 44"/>
                <a:gd name="T27" fmla="*/ 0 h 39"/>
                <a:gd name="T28" fmla="*/ 23 w 44"/>
                <a:gd name="T29" fmla="*/ 9 h 39"/>
                <a:gd name="T30" fmla="*/ 23 w 44"/>
                <a:gd name="T31" fmla="*/ 20 h 39"/>
                <a:gd name="T32" fmla="*/ 30 w 44"/>
                <a:gd name="T33" fmla="*/ 27 h 39"/>
                <a:gd name="T34" fmla="*/ 32 w 44"/>
                <a:gd name="T35" fmla="*/ 25 h 39"/>
                <a:gd name="T36" fmla="*/ 26 w 44"/>
                <a:gd name="T37" fmla="*/ 19 h 39"/>
                <a:gd name="T38" fmla="*/ 26 w 44"/>
                <a:gd name="T39" fmla="*/ 9 h 39"/>
                <a:gd name="T40" fmla="*/ 23 w 44"/>
                <a:gd name="T41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39">
                  <a:moveTo>
                    <a:pt x="25" y="0"/>
                  </a:moveTo>
                  <a:cubicBezTo>
                    <a:pt x="14" y="0"/>
                    <a:pt x="6" y="9"/>
                    <a:pt x="5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1"/>
                    <a:pt x="17" y="5"/>
                    <a:pt x="25" y="5"/>
                  </a:cubicBezTo>
                  <a:cubicBezTo>
                    <a:pt x="32" y="5"/>
                    <a:pt x="39" y="12"/>
                    <a:pt x="39" y="20"/>
                  </a:cubicBezTo>
                  <a:cubicBezTo>
                    <a:pt x="39" y="28"/>
                    <a:pt x="32" y="34"/>
                    <a:pt x="25" y="34"/>
                  </a:cubicBezTo>
                  <a:cubicBezTo>
                    <a:pt x="21" y="34"/>
                    <a:pt x="18" y="33"/>
                    <a:pt x="16" y="31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6" y="37"/>
                    <a:pt x="20" y="39"/>
                    <a:pt x="25" y="39"/>
                  </a:cubicBezTo>
                  <a:cubicBezTo>
                    <a:pt x="35" y="39"/>
                    <a:pt x="44" y="30"/>
                    <a:pt x="44" y="20"/>
                  </a:cubicBezTo>
                  <a:cubicBezTo>
                    <a:pt x="44" y="9"/>
                    <a:pt x="35" y="0"/>
                    <a:pt x="25" y="0"/>
                  </a:cubicBezTo>
                  <a:close/>
                  <a:moveTo>
                    <a:pt x="23" y="9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9"/>
                    <a:pt x="26" y="9"/>
                    <a:pt x="26" y="9"/>
                  </a:cubicBezTo>
                  <a:lnTo>
                    <a:pt x="23" y="9"/>
                  </a:lnTo>
                  <a:close/>
                </a:path>
              </a:pathLst>
            </a:custGeom>
            <a:solidFill>
              <a:srgbClr val="00BBD4"/>
            </a:solidFill>
            <a:ln>
              <a:noFill/>
            </a:ln>
            <a:extLst/>
          </p:spPr>
          <p:txBody>
            <a:bodyPr vert="horz" wrap="square" lIns="104235" tIns="52118" rIns="104235" bIns="52118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301"/>
            <p:cNvSpPr>
              <a:spLocks noEditPoints="1"/>
            </p:cNvSpPr>
            <p:nvPr/>
          </p:nvSpPr>
          <p:spPr bwMode="auto">
            <a:xfrm>
              <a:off x="1280839" y="5982419"/>
              <a:ext cx="539973" cy="406860"/>
            </a:xfrm>
            <a:custGeom>
              <a:avLst/>
              <a:gdLst>
                <a:gd name="T0" fmla="*/ 61 w 62"/>
                <a:gd name="T1" fmla="*/ 11 h 41"/>
                <a:gd name="T2" fmla="*/ 31 w 62"/>
                <a:gd name="T3" fmla="*/ 21 h 41"/>
                <a:gd name="T4" fmla="*/ 31 w 62"/>
                <a:gd name="T5" fmla="*/ 21 h 41"/>
                <a:gd name="T6" fmla="*/ 31 w 62"/>
                <a:gd name="T7" fmla="*/ 21 h 41"/>
                <a:gd name="T8" fmla="*/ 13 w 62"/>
                <a:gd name="T9" fmla="*/ 15 h 41"/>
                <a:gd name="T10" fmla="*/ 11 w 62"/>
                <a:gd name="T11" fmla="*/ 23 h 41"/>
                <a:gd name="T12" fmla="*/ 12 w 62"/>
                <a:gd name="T13" fmla="*/ 26 h 41"/>
                <a:gd name="T14" fmla="*/ 11 w 62"/>
                <a:gd name="T15" fmla="*/ 29 h 41"/>
                <a:gd name="T16" fmla="*/ 12 w 62"/>
                <a:gd name="T17" fmla="*/ 40 h 41"/>
                <a:gd name="T18" fmla="*/ 12 w 62"/>
                <a:gd name="T19" fmla="*/ 41 h 41"/>
                <a:gd name="T20" fmla="*/ 11 w 62"/>
                <a:gd name="T21" fmla="*/ 41 h 41"/>
                <a:gd name="T22" fmla="*/ 6 w 62"/>
                <a:gd name="T23" fmla="*/ 41 h 41"/>
                <a:gd name="T24" fmla="*/ 6 w 62"/>
                <a:gd name="T25" fmla="*/ 41 h 41"/>
                <a:gd name="T26" fmla="*/ 5 w 62"/>
                <a:gd name="T27" fmla="*/ 40 h 41"/>
                <a:gd name="T28" fmla="*/ 7 w 62"/>
                <a:gd name="T29" fmla="*/ 29 h 41"/>
                <a:gd name="T30" fmla="*/ 5 w 62"/>
                <a:gd name="T31" fmla="*/ 26 h 41"/>
                <a:gd name="T32" fmla="*/ 7 w 62"/>
                <a:gd name="T33" fmla="*/ 23 h 41"/>
                <a:gd name="T34" fmla="*/ 10 w 62"/>
                <a:gd name="T35" fmla="*/ 14 h 41"/>
                <a:gd name="T36" fmla="*/ 1 w 62"/>
                <a:gd name="T37" fmla="*/ 11 h 41"/>
                <a:gd name="T38" fmla="*/ 0 w 62"/>
                <a:gd name="T39" fmla="*/ 10 h 41"/>
                <a:gd name="T40" fmla="*/ 1 w 62"/>
                <a:gd name="T41" fmla="*/ 10 h 41"/>
                <a:gd name="T42" fmla="*/ 31 w 62"/>
                <a:gd name="T43" fmla="*/ 0 h 41"/>
                <a:gd name="T44" fmla="*/ 31 w 62"/>
                <a:gd name="T45" fmla="*/ 0 h 41"/>
                <a:gd name="T46" fmla="*/ 31 w 62"/>
                <a:gd name="T47" fmla="*/ 0 h 41"/>
                <a:gd name="T48" fmla="*/ 61 w 62"/>
                <a:gd name="T49" fmla="*/ 10 h 41"/>
                <a:gd name="T50" fmla="*/ 62 w 62"/>
                <a:gd name="T51" fmla="*/ 10 h 41"/>
                <a:gd name="T52" fmla="*/ 61 w 62"/>
                <a:gd name="T53" fmla="*/ 11 h 41"/>
                <a:gd name="T54" fmla="*/ 48 w 62"/>
                <a:gd name="T55" fmla="*/ 28 h 41"/>
                <a:gd name="T56" fmla="*/ 31 w 62"/>
                <a:gd name="T57" fmla="*/ 34 h 41"/>
                <a:gd name="T58" fmla="*/ 14 w 62"/>
                <a:gd name="T59" fmla="*/ 28 h 41"/>
                <a:gd name="T60" fmla="*/ 14 w 62"/>
                <a:gd name="T61" fmla="*/ 19 h 41"/>
                <a:gd name="T62" fmla="*/ 30 w 62"/>
                <a:gd name="T63" fmla="*/ 24 h 41"/>
                <a:gd name="T64" fmla="*/ 31 w 62"/>
                <a:gd name="T65" fmla="*/ 24 h 41"/>
                <a:gd name="T66" fmla="*/ 32 w 62"/>
                <a:gd name="T67" fmla="*/ 24 h 41"/>
                <a:gd name="T68" fmla="*/ 48 w 62"/>
                <a:gd name="T69" fmla="*/ 19 h 41"/>
                <a:gd name="T70" fmla="*/ 48 w 62"/>
                <a:gd name="T71" fmla="*/ 2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2" h="41">
                  <a:moveTo>
                    <a:pt x="61" y="11"/>
                  </a:move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6"/>
                    <a:pt x="11" y="19"/>
                    <a:pt x="11" y="23"/>
                  </a:cubicBezTo>
                  <a:cubicBezTo>
                    <a:pt x="12" y="23"/>
                    <a:pt x="12" y="25"/>
                    <a:pt x="12" y="26"/>
                  </a:cubicBezTo>
                  <a:cubicBezTo>
                    <a:pt x="12" y="27"/>
                    <a:pt x="12" y="28"/>
                    <a:pt x="11" y="29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1"/>
                    <a:pt x="12" y="41"/>
                    <a:pt x="11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5" y="41"/>
                    <a:pt x="5" y="41"/>
                    <a:pt x="5" y="40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6" y="28"/>
                    <a:pt x="5" y="27"/>
                    <a:pt x="5" y="26"/>
                  </a:cubicBezTo>
                  <a:cubicBezTo>
                    <a:pt x="5" y="25"/>
                    <a:pt x="6" y="23"/>
                    <a:pt x="7" y="23"/>
                  </a:cubicBezTo>
                  <a:cubicBezTo>
                    <a:pt x="7" y="20"/>
                    <a:pt x="8" y="16"/>
                    <a:pt x="10" y="14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2" y="11"/>
                    <a:pt x="62" y="11"/>
                    <a:pt x="61" y="11"/>
                  </a:cubicBezTo>
                  <a:close/>
                  <a:moveTo>
                    <a:pt x="48" y="28"/>
                  </a:moveTo>
                  <a:cubicBezTo>
                    <a:pt x="48" y="31"/>
                    <a:pt x="41" y="34"/>
                    <a:pt x="31" y="34"/>
                  </a:cubicBezTo>
                  <a:cubicBezTo>
                    <a:pt x="22" y="34"/>
                    <a:pt x="14" y="31"/>
                    <a:pt x="14" y="28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1" y="24"/>
                    <a:pt x="31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48" y="19"/>
                    <a:pt x="48" y="19"/>
                    <a:pt x="48" y="19"/>
                  </a:cubicBezTo>
                  <a:lnTo>
                    <a:pt x="48" y="28"/>
                  </a:lnTo>
                  <a:close/>
                </a:path>
              </a:pathLst>
            </a:custGeom>
            <a:solidFill>
              <a:srgbClr val="00BBD4"/>
            </a:solidFill>
            <a:ln>
              <a:noFill/>
            </a:ln>
            <a:extLst/>
          </p:spPr>
          <p:txBody>
            <a:bodyPr vert="horz" wrap="square" lIns="104235" tIns="52118" rIns="104235" bIns="52118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309"/>
            <p:cNvSpPr>
              <a:spLocks/>
            </p:cNvSpPr>
            <p:nvPr/>
          </p:nvSpPr>
          <p:spPr bwMode="auto">
            <a:xfrm>
              <a:off x="1280840" y="5208814"/>
              <a:ext cx="483838" cy="356788"/>
            </a:xfrm>
            <a:custGeom>
              <a:avLst/>
              <a:gdLst>
                <a:gd name="T0" fmla="*/ 30 w 38"/>
                <a:gd name="T1" fmla="*/ 41 h 41"/>
                <a:gd name="T2" fmla="*/ 24 w 38"/>
                <a:gd name="T3" fmla="*/ 38 h 41"/>
                <a:gd name="T4" fmla="*/ 3 w 38"/>
                <a:gd name="T5" fmla="*/ 17 h 41"/>
                <a:gd name="T6" fmla="*/ 0 w 38"/>
                <a:gd name="T7" fmla="*/ 10 h 41"/>
                <a:gd name="T8" fmla="*/ 10 w 38"/>
                <a:gd name="T9" fmla="*/ 0 h 41"/>
                <a:gd name="T10" fmla="*/ 18 w 38"/>
                <a:gd name="T11" fmla="*/ 3 h 41"/>
                <a:gd name="T12" fmla="*/ 34 w 38"/>
                <a:gd name="T13" fmla="*/ 19 h 41"/>
                <a:gd name="T14" fmla="*/ 34 w 38"/>
                <a:gd name="T15" fmla="*/ 20 h 41"/>
                <a:gd name="T16" fmla="*/ 32 w 38"/>
                <a:gd name="T17" fmla="*/ 22 h 41"/>
                <a:gd name="T18" fmla="*/ 32 w 38"/>
                <a:gd name="T19" fmla="*/ 22 h 41"/>
                <a:gd name="T20" fmla="*/ 15 w 38"/>
                <a:gd name="T21" fmla="*/ 5 h 41"/>
                <a:gd name="T22" fmla="*/ 10 w 38"/>
                <a:gd name="T23" fmla="*/ 3 h 41"/>
                <a:gd name="T24" fmla="*/ 4 w 38"/>
                <a:gd name="T25" fmla="*/ 10 h 41"/>
                <a:gd name="T26" fmla="*/ 6 w 38"/>
                <a:gd name="T27" fmla="*/ 15 h 41"/>
                <a:gd name="T28" fmla="*/ 27 w 38"/>
                <a:gd name="T29" fmla="*/ 36 h 41"/>
                <a:gd name="T30" fmla="*/ 30 w 38"/>
                <a:gd name="T31" fmla="*/ 38 h 41"/>
                <a:gd name="T32" fmla="*/ 34 w 38"/>
                <a:gd name="T33" fmla="*/ 34 h 41"/>
                <a:gd name="T34" fmla="*/ 33 w 38"/>
                <a:gd name="T35" fmla="*/ 30 h 41"/>
                <a:gd name="T36" fmla="*/ 17 w 38"/>
                <a:gd name="T37" fmla="*/ 14 h 41"/>
                <a:gd name="T38" fmla="*/ 16 w 38"/>
                <a:gd name="T39" fmla="*/ 13 h 41"/>
                <a:gd name="T40" fmla="*/ 14 w 38"/>
                <a:gd name="T41" fmla="*/ 15 h 41"/>
                <a:gd name="T42" fmla="*/ 14 w 38"/>
                <a:gd name="T43" fmla="*/ 17 h 41"/>
                <a:gd name="T44" fmla="*/ 25 w 38"/>
                <a:gd name="T45" fmla="*/ 28 h 41"/>
                <a:gd name="T46" fmla="*/ 26 w 38"/>
                <a:gd name="T47" fmla="*/ 28 h 41"/>
                <a:gd name="T48" fmla="*/ 24 w 38"/>
                <a:gd name="T49" fmla="*/ 31 h 41"/>
                <a:gd name="T50" fmla="*/ 23 w 38"/>
                <a:gd name="T51" fmla="*/ 30 h 41"/>
                <a:gd name="T52" fmla="*/ 12 w 38"/>
                <a:gd name="T53" fmla="*/ 19 h 41"/>
                <a:gd name="T54" fmla="*/ 10 w 38"/>
                <a:gd name="T55" fmla="*/ 15 h 41"/>
                <a:gd name="T56" fmla="*/ 16 w 38"/>
                <a:gd name="T57" fmla="*/ 10 h 41"/>
                <a:gd name="T58" fmla="*/ 20 w 38"/>
                <a:gd name="T59" fmla="*/ 12 h 41"/>
                <a:gd name="T60" fmla="*/ 35 w 38"/>
                <a:gd name="T61" fmla="*/ 27 h 41"/>
                <a:gd name="T62" fmla="*/ 38 w 38"/>
                <a:gd name="T63" fmla="*/ 34 h 41"/>
                <a:gd name="T64" fmla="*/ 30 w 38"/>
                <a:gd name="T6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" h="41">
                  <a:moveTo>
                    <a:pt x="30" y="41"/>
                  </a:moveTo>
                  <a:cubicBezTo>
                    <a:pt x="28" y="41"/>
                    <a:pt x="26" y="40"/>
                    <a:pt x="24" y="38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13" y="0"/>
                    <a:pt x="16" y="1"/>
                    <a:pt x="18" y="3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20"/>
                    <a:pt x="34" y="20"/>
                  </a:cubicBezTo>
                  <a:cubicBezTo>
                    <a:pt x="34" y="20"/>
                    <a:pt x="33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4" y="4"/>
                    <a:pt x="12" y="3"/>
                    <a:pt x="10" y="3"/>
                  </a:cubicBezTo>
                  <a:cubicBezTo>
                    <a:pt x="7" y="3"/>
                    <a:pt x="4" y="6"/>
                    <a:pt x="4" y="10"/>
                  </a:cubicBezTo>
                  <a:cubicBezTo>
                    <a:pt x="4" y="12"/>
                    <a:pt x="4" y="14"/>
                    <a:pt x="6" y="15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8" y="37"/>
                    <a:pt x="29" y="38"/>
                    <a:pt x="30" y="38"/>
                  </a:cubicBezTo>
                  <a:cubicBezTo>
                    <a:pt x="33" y="38"/>
                    <a:pt x="34" y="36"/>
                    <a:pt x="34" y="34"/>
                  </a:cubicBezTo>
                  <a:cubicBezTo>
                    <a:pt x="34" y="32"/>
                    <a:pt x="34" y="31"/>
                    <a:pt x="33" y="3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6" y="13"/>
                    <a:pt x="16" y="13"/>
                  </a:cubicBezTo>
                  <a:cubicBezTo>
                    <a:pt x="15" y="13"/>
                    <a:pt x="14" y="14"/>
                    <a:pt x="14" y="15"/>
                  </a:cubicBezTo>
                  <a:cubicBezTo>
                    <a:pt x="14" y="16"/>
                    <a:pt x="14" y="16"/>
                    <a:pt x="14" y="1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9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18"/>
                    <a:pt x="10" y="17"/>
                    <a:pt x="10" y="15"/>
                  </a:cubicBezTo>
                  <a:cubicBezTo>
                    <a:pt x="10" y="12"/>
                    <a:pt x="13" y="10"/>
                    <a:pt x="16" y="10"/>
                  </a:cubicBezTo>
                  <a:cubicBezTo>
                    <a:pt x="17" y="10"/>
                    <a:pt x="19" y="11"/>
                    <a:pt x="20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7" y="29"/>
                    <a:pt x="38" y="31"/>
                    <a:pt x="38" y="34"/>
                  </a:cubicBezTo>
                  <a:cubicBezTo>
                    <a:pt x="38" y="38"/>
                    <a:pt x="35" y="41"/>
                    <a:pt x="30" y="41"/>
                  </a:cubicBezTo>
                  <a:close/>
                </a:path>
              </a:pathLst>
            </a:custGeom>
            <a:solidFill>
              <a:srgbClr val="00BBD4"/>
            </a:solidFill>
            <a:ln>
              <a:noFill/>
            </a:ln>
            <a:extLst/>
          </p:spPr>
          <p:txBody>
            <a:bodyPr vert="horz" wrap="square" lIns="104235" tIns="52118" rIns="104235" bIns="52118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539343" y="290672"/>
            <a:ext cx="6887912" cy="3911935"/>
          </a:xfrm>
          <a:prstGeom prst="rect">
            <a:avLst/>
          </a:prstGeom>
          <a:ln w="34925">
            <a:solidFill>
              <a:schemeClr val="bg1">
                <a:alpha val="40000"/>
              </a:schemeClr>
            </a:solidFill>
          </a:ln>
        </p:spPr>
      </p:pic>
    </p:spTree>
    <p:extLst>
      <p:ext uri="{BB962C8B-B14F-4D97-AF65-F5344CB8AC3E}">
        <p14:creationId xmlns="" xmlns:p14="http://schemas.microsoft.com/office/powerpoint/2010/main" val="1689478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24628" name="think-cell Slide" r:id="rId4" imgW="360" imgH="360" progId="">
              <p:embed/>
            </p:oleObj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12192000" cy="6874331"/>
          </a:xfrm>
          <a:prstGeom prst="rect">
            <a:avLst/>
          </a:prstGeom>
          <a:gradFill>
            <a:gsLst>
              <a:gs pos="0">
                <a:srgbClr val="673BB7">
                  <a:alpha val="80000"/>
                </a:srgbClr>
              </a:gs>
              <a:gs pos="100000">
                <a:srgbClr val="0E47A1">
                  <a:alpha val="80000"/>
                </a:srgbClr>
              </a:gs>
            </a:gsLst>
            <a:lin ang="7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04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63731" y="234089"/>
            <a:ext cx="5053265" cy="15290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УЛЬТАТИВ</a:t>
            </a:r>
            <a:r>
              <a:rPr lang="ru-RU" sz="2100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УЧЕНИЕ ПРИКЛАДНОГО </a:t>
            </a:r>
            <a:br>
              <a:rPr lang="ru-RU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НОГО ОБЕСПЕЧЕНИЯ</a:t>
            </a:r>
            <a:endParaRPr lang="ru-RU" sz="2100" b="1" dirty="0">
              <a:solidFill>
                <a:schemeClr val="accent3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1252" y="4835940"/>
            <a:ext cx="1490689" cy="149068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0279" y="5250565"/>
            <a:ext cx="1267737" cy="126773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6987" y="4111567"/>
            <a:ext cx="987160" cy="976944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3150" y="2938126"/>
            <a:ext cx="1023752" cy="1023752"/>
          </a:xfrm>
          <a:prstGeom prst="rect">
            <a:avLst/>
          </a:prstGeom>
        </p:spPr>
      </p:pic>
      <p:sp>
        <p:nvSpPr>
          <p:cNvPr id="48" name="Прямоугольник 47"/>
          <p:cNvSpPr/>
          <p:nvPr/>
        </p:nvSpPr>
        <p:spPr>
          <a:xfrm>
            <a:off x="365925" y="2152543"/>
            <a:ext cx="7254219" cy="43817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pc="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редактирования видео: </a:t>
            </a:r>
            <a:r>
              <a:rPr lang="ru-RU" b="1" spc="100" dirty="0" err="1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be</a:t>
            </a:r>
            <a:r>
              <a:rPr lang="ru-RU" b="1" spc="100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mier</a:t>
            </a:r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spc="100" dirty="0" err="1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</a:t>
            </a:r>
            <a:endParaRPr lang="ru-RU" b="1" spc="100" dirty="0" smtClean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b="1" spc="100" dirty="0">
              <a:solidFill>
                <a:srgbClr val="9207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pc="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редактирования изображений: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be</a:t>
            </a:r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shop</a:t>
            </a:r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S5</a:t>
            </a:r>
          </a:p>
          <a:p>
            <a:endParaRPr lang="ru-RU" b="1" spc="100" dirty="0">
              <a:solidFill>
                <a:schemeClr val="accent3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pc="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разработки макетов изданий: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sign</a:t>
            </a:r>
            <a:endParaRPr lang="ru-RU" b="1" spc="1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b="1" spc="100" dirty="0">
              <a:solidFill>
                <a:schemeClr val="accent3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pc="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распознавания контента: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e</a:t>
            </a:r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der</a:t>
            </a:r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SDC</a:t>
            </a:r>
          </a:p>
          <a:p>
            <a:endParaRPr lang="ru-RU" b="1" spc="100" dirty="0">
              <a:solidFill>
                <a:schemeClr val="accent3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pc="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разработки приложений с графическим интерфейсом: </a:t>
            </a:r>
            <a:endParaRPr lang="en-US" spc="100" dirty="0" smtClean="0">
              <a:solidFill>
                <a:schemeClr val="accent3">
                  <a:lumMod val="20000"/>
                  <a:lumOff val="80000"/>
                </a:schemeClr>
              </a:solidFill>
              <a:latin typeface="Baskerville Old Face" panose="02020602080505020303" pitchFamily="18" charset="0"/>
              <a:cs typeface="Arial" panose="020B0604020202020204" pitchFamily="34" charset="0"/>
            </a:endParaRPr>
          </a:p>
          <a:p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soft</a:t>
            </a:r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</a:t>
            </a:r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o</a:t>
            </a:r>
            <a:endParaRPr lang="ru-RU" b="1" spc="1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b="1" spc="100" dirty="0" smtClean="0">
              <a:solidFill>
                <a:schemeClr val="accent3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pc="100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</a:t>
            </a:r>
            <a:r>
              <a:rPr lang="ru-RU" spc="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же с необходимыми в дальнейшей работе программами пакета </a:t>
            </a:r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S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</a:t>
            </a:r>
            <a:endParaRPr lang="ru-RU" b="1" spc="1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b="1" spc="100" dirty="0">
              <a:solidFill>
                <a:schemeClr val="accent3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дом других специализированных программ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882189" y="569973"/>
            <a:ext cx="8309812" cy="858253"/>
          </a:xfrm>
          <a:prstGeom prst="rect">
            <a:avLst/>
          </a:prstGeom>
          <a:gradFill>
            <a:gsLst>
              <a:gs pos="51000">
                <a:schemeClr val="bg1">
                  <a:lumMod val="95000"/>
                  <a:alpha val="37000"/>
                </a:schemeClr>
              </a:gs>
              <a:gs pos="100000">
                <a:srgbClr val="7A68C3">
                  <a:alpha val="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320000"/>
            <a:r>
              <a:rPr lang="ru-RU" sz="1600" b="1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ИМ РАБОТАТЬ </a:t>
            </a:r>
            <a:br>
              <a:rPr lang="ru-RU" sz="1600" b="1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 рядом прикладных программ:</a:t>
            </a:r>
            <a:endParaRPr lang="ru-RU" sz="16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5925" y="1892969"/>
            <a:ext cx="3814189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V="1">
            <a:off x="7676996" y="2447773"/>
            <a:ext cx="0" cy="3895235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402936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4">
              <a:alphaModFix amt="53000"/>
              <a:extLst>
                <a:ext uri="{BEBA8EAE-BF5A-486C-A8C5-ECC9F3942E4B}">
                  <a14:imgProps xmlns="" xmlns:a14="http://schemas.microsoft.com/office/drawing/2010/main">
                    <a14:imgLayer r:embed="rId5">
                      <a14:imgEffect>
                        <a14:brightnessContrast bright="-20000" contrast="-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19500" name="think-cell Slide" r:id="rId6" imgW="360" imgH="360" progId="">
              <p:embed/>
            </p:oleObj>
          </a:graphicData>
        </a:graphic>
      </p:graphicFrame>
      <p:sp>
        <p:nvSpPr>
          <p:cNvPr id="3" name="Rectangle 2"/>
          <p:cNvSpPr/>
          <p:nvPr/>
        </p:nvSpPr>
        <p:spPr>
          <a:xfrm>
            <a:off x="551304" y="3429000"/>
            <a:ext cx="10474433" cy="1570649"/>
          </a:xfrm>
          <a:prstGeom prst="rect">
            <a:avLst/>
          </a:prstGeom>
          <a:noFill/>
          <a:ln w="12700">
            <a:noFill/>
          </a:ln>
          <a:effectLst>
            <a:outerShdw blurRad="2032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5000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ПОСТУПИТЬ </a:t>
            </a:r>
          </a:p>
          <a:p>
            <a:pPr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5000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ВОЕННЫЙ УНИВЕРСИТЕТ </a:t>
            </a:r>
          </a:p>
          <a:p>
            <a:pPr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5000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С ЧЕГО НАЧНЕТСЯ </a:t>
            </a:r>
          </a:p>
          <a:p>
            <a:pPr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5000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ШЕ </a:t>
            </a:r>
            <a:r>
              <a:rPr lang="ru-RU" sz="50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? </a:t>
            </a:r>
            <a:endParaRPr lang="ru-RU" sz="5000" b="1" dirty="0">
              <a:solidFill>
                <a:schemeClr val="accent3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22166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25645" name="think-cell Slide" r:id="rId4" imgW="360" imgH="360" progId="">
              <p:embed/>
            </p:oleObj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12186638" cy="6858002"/>
          </a:xfrm>
          <a:prstGeom prst="rect">
            <a:avLst/>
          </a:prstGeom>
          <a:gradFill>
            <a:gsLst>
              <a:gs pos="0">
                <a:srgbClr val="673BB7">
                  <a:alpha val="78000"/>
                </a:srgbClr>
              </a:gs>
              <a:gs pos="100000">
                <a:srgbClr val="0E47A1">
                  <a:alpha val="79000"/>
                </a:srgbClr>
              </a:gs>
            </a:gsLst>
            <a:lin ang="7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04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08545" y="199171"/>
            <a:ext cx="5053265" cy="15290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УЛЬТАТИВ</a:t>
            </a:r>
            <a:r>
              <a:rPr lang="ru-RU" sz="2100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1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УЧЕНИЕ ПРОФЕССИОНАЛЬНЫХ ТЕХНИЧЕСКИХ СРЕДСТВ</a:t>
            </a:r>
            <a:endParaRPr lang="ru-RU" sz="2100" b="1" dirty="0">
              <a:solidFill>
                <a:schemeClr val="accent3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08545" y="2787372"/>
            <a:ext cx="3978444" cy="497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Видеокамера </a:t>
            </a:r>
            <a:r>
              <a:rPr lang="en-US" b="1" spc="100" dirty="0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Sony PXW-Z90 </a:t>
            </a:r>
            <a:br>
              <a:rPr lang="en-US" b="1" spc="100" dirty="0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</a:br>
            <a:r>
              <a:rPr lang="ru-RU" sz="1600" b="1" spc="100" dirty="0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и другие модели</a:t>
            </a:r>
            <a:endParaRPr lang="ru-RU" b="1" spc="100" dirty="0">
              <a:solidFill>
                <a:schemeClr val="accent4">
                  <a:lumMod val="75000"/>
                </a:schemeClr>
              </a:solidFill>
              <a:latin typeface="Shruti" panose="020B0502040204020203" pitchFamily="34" charset="0"/>
              <a:cs typeface="Shruti" panose="020B05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08541" y="3418206"/>
            <a:ext cx="5914673" cy="497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Цифровой фотоаппарат </a:t>
            </a:r>
            <a:r>
              <a:rPr lang="en-US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Canon </a:t>
            </a:r>
            <a:r>
              <a:rPr lang="en-US" b="1" spc="100" dirty="0" smtClean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5D, Fujifilm </a:t>
            </a:r>
            <a:r>
              <a:rPr lang="en-US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X-T20</a:t>
            </a:r>
            <a:r>
              <a:rPr lang="ru-RU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 </a:t>
            </a:r>
            <a:r>
              <a:rPr lang="ru-RU" sz="1600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и другие модел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08544" y="3907942"/>
            <a:ext cx="3978442" cy="497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Экшен</a:t>
            </a:r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-камера </a:t>
            </a:r>
            <a:r>
              <a:rPr lang="en-US" b="1" spc="100" dirty="0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Go-Pro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08541" y="4471842"/>
            <a:ext cx="4584573" cy="497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spc="100" dirty="0" err="1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Квадрокоптер</a:t>
            </a:r>
            <a:r>
              <a:rPr lang="ru-RU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 </a:t>
            </a:r>
            <a:r>
              <a:rPr lang="en-US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Phantom </a:t>
            </a:r>
            <a:br>
              <a:rPr lang="en-US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</a:br>
            <a:r>
              <a:rPr lang="ru-RU" sz="1600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и другими классами оборудования</a:t>
            </a:r>
            <a:endParaRPr lang="ru-RU" b="1" spc="100" dirty="0">
              <a:solidFill>
                <a:schemeClr val="bg1"/>
              </a:solidFill>
              <a:latin typeface="Shruti" panose="020B0502040204020203" pitchFamily="34" charset="0"/>
              <a:cs typeface="Shruti" panose="020B0502040204020203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08541" y="5078051"/>
            <a:ext cx="4902299" cy="497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Осветительное студийное оборудование</a:t>
            </a:r>
            <a:endParaRPr lang="en-US" b="1" spc="100" dirty="0">
              <a:solidFill>
                <a:schemeClr val="accent4">
                  <a:lumMod val="75000"/>
                </a:schemeClr>
              </a:solidFill>
              <a:latin typeface="Shruti" panose="020B0502040204020203" pitchFamily="34" charset="0"/>
              <a:cs typeface="Shruti" panose="020B0502040204020203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08544" y="6137098"/>
            <a:ext cx="4902298" cy="497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spc="100" dirty="0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Графический планшет, ЖК-панели, интерактивная трибуна и </a:t>
            </a:r>
            <a:r>
              <a:rPr lang="ru-RU" b="1" spc="100" dirty="0" err="1">
                <a:solidFill>
                  <a:schemeClr val="accent4">
                    <a:lumMod val="75000"/>
                  </a:schemeClr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видеостена</a:t>
            </a:r>
            <a:endParaRPr lang="ru-RU" b="1" spc="100" dirty="0">
              <a:solidFill>
                <a:schemeClr val="accent4">
                  <a:lumMod val="75000"/>
                </a:schemeClr>
              </a:solidFill>
              <a:latin typeface="Shruti" panose="020B0502040204020203" pitchFamily="34" charset="0"/>
              <a:cs typeface="Shruti" panose="020B0502040204020203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36877" y="1846661"/>
            <a:ext cx="2662996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208541" y="1913257"/>
            <a:ext cx="6045302" cy="669732"/>
          </a:xfrm>
          <a:prstGeom prst="rect">
            <a:avLst/>
          </a:prstGeom>
          <a:gradFill>
            <a:gsLst>
              <a:gs pos="51000">
                <a:schemeClr val="bg1">
                  <a:lumMod val="95000"/>
                  <a:alpha val="37000"/>
                </a:schemeClr>
              </a:gs>
              <a:gs pos="100000">
                <a:srgbClr val="7A68C3">
                  <a:alpha val="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i="1" dirty="0" smtClean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ИМ РАБОТАТЬ </a:t>
            </a:r>
            <a:br>
              <a:rPr lang="ru-RU" sz="1600" b="1" i="1" dirty="0" smtClean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i="1" dirty="0" smtClean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 техническими средствами:</a:t>
            </a:r>
            <a:endParaRPr lang="ru-RU" sz="1600" b="1" i="1" dirty="0">
              <a:solidFill>
                <a:schemeClr val="accent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олилиния 46"/>
          <p:cNvSpPr>
            <a:spLocks/>
          </p:cNvSpPr>
          <p:nvPr/>
        </p:nvSpPr>
        <p:spPr>
          <a:xfrm>
            <a:off x="5747657" y="0"/>
            <a:ext cx="7929678" cy="6858000"/>
          </a:xfrm>
          <a:custGeom>
            <a:avLst/>
            <a:gdLst>
              <a:gd name="connsiteX0" fmla="*/ 859339 w 9024903"/>
              <a:gd name="connsiteY0" fmla="*/ 2 h 4447676"/>
              <a:gd name="connsiteX1" fmla="*/ 3437357 w 9024903"/>
              <a:gd name="connsiteY1" fmla="*/ 2 h 4447676"/>
              <a:gd name="connsiteX2" fmla="*/ 2578018 w 9024903"/>
              <a:gd name="connsiteY2" fmla="*/ 4447676 h 4447676"/>
              <a:gd name="connsiteX3" fmla="*/ 0 w 9024903"/>
              <a:gd name="connsiteY3" fmla="*/ 4447676 h 4447676"/>
              <a:gd name="connsiteX4" fmla="*/ 6446885 w 9024903"/>
              <a:gd name="connsiteY4" fmla="*/ 2 h 4447676"/>
              <a:gd name="connsiteX5" fmla="*/ 9024903 w 9024903"/>
              <a:gd name="connsiteY5" fmla="*/ 2 h 4447676"/>
              <a:gd name="connsiteX6" fmla="*/ 8165564 w 9024903"/>
              <a:gd name="connsiteY6" fmla="*/ 4447676 h 4447676"/>
              <a:gd name="connsiteX7" fmla="*/ 5587546 w 9024903"/>
              <a:gd name="connsiteY7" fmla="*/ 4447676 h 4447676"/>
              <a:gd name="connsiteX8" fmla="*/ 3653112 w 9024903"/>
              <a:gd name="connsiteY8" fmla="*/ 0 h 4447676"/>
              <a:gd name="connsiteX9" fmla="*/ 6231130 w 9024903"/>
              <a:gd name="connsiteY9" fmla="*/ 0 h 4447676"/>
              <a:gd name="connsiteX10" fmla="*/ 5371791 w 9024903"/>
              <a:gd name="connsiteY10" fmla="*/ 4447674 h 4447676"/>
              <a:gd name="connsiteX11" fmla="*/ 2793773 w 9024903"/>
              <a:gd name="connsiteY11" fmla="*/ 4447674 h 4447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024903" h="4447676">
                <a:moveTo>
                  <a:pt x="859339" y="2"/>
                </a:moveTo>
                <a:lnTo>
                  <a:pt x="3437357" y="2"/>
                </a:lnTo>
                <a:lnTo>
                  <a:pt x="2578018" y="4447676"/>
                </a:lnTo>
                <a:lnTo>
                  <a:pt x="0" y="4447676"/>
                </a:lnTo>
                <a:close/>
                <a:moveTo>
                  <a:pt x="6446885" y="2"/>
                </a:moveTo>
                <a:lnTo>
                  <a:pt x="9024903" y="2"/>
                </a:lnTo>
                <a:lnTo>
                  <a:pt x="8165564" y="4447676"/>
                </a:lnTo>
                <a:lnTo>
                  <a:pt x="5587546" y="4447676"/>
                </a:lnTo>
                <a:close/>
                <a:moveTo>
                  <a:pt x="3653112" y="0"/>
                </a:moveTo>
                <a:lnTo>
                  <a:pt x="6231130" y="0"/>
                </a:lnTo>
                <a:lnTo>
                  <a:pt x="5371791" y="4447674"/>
                </a:lnTo>
                <a:lnTo>
                  <a:pt x="2793773" y="4447674"/>
                </a:lnTo>
                <a:close/>
              </a:path>
            </a:pathLst>
          </a:custGeom>
          <a:blipFill dpi="0" rotWithShape="1">
            <a:blip r:embed="rId5" cstate="email">
              <a:extLst>
                <a:ext uri="{BEBA8EAE-BF5A-486C-A8C5-ECC9F3942E4B}">
                  <a14:imgProps xmlns="" xmlns:a14="http://schemas.microsoft.com/office/drawing/2010/main">
                    <a14:imgLayer r:embed="rId7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152400" dist="88900" dir="2700000" algn="tl" rotWithShape="0">
              <a:prstClr val="black">
                <a:alpha val="4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208543" y="5584979"/>
            <a:ext cx="5653413" cy="497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spc="100" dirty="0">
                <a:solidFill>
                  <a:schemeClr val="bg1"/>
                </a:solidFill>
                <a:latin typeface="Shruti" panose="020B0502040204020203" pitchFamily="34" charset="0"/>
                <a:cs typeface="Shruti" panose="020B0502040204020203" pitchFamily="34" charset="0"/>
              </a:rPr>
              <a:t>Современная техника оперативной полиграфии</a:t>
            </a:r>
          </a:p>
        </p:txBody>
      </p:sp>
    </p:spTree>
    <p:extLst>
      <p:ext uri="{BB962C8B-B14F-4D97-AF65-F5344CB8AC3E}">
        <p14:creationId xmlns="" xmlns:p14="http://schemas.microsoft.com/office/powerpoint/2010/main" val="3545832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29719" name="think-cell Slide" r:id="rId4" imgW="360" imgH="360" progId="">
              <p:embed/>
            </p:oleObj>
          </a:graphicData>
        </a:graphic>
      </p:graphicFrame>
      <p:sp>
        <p:nvSpPr>
          <p:cNvPr id="17" name="Заголовок 1"/>
          <p:cNvSpPr txBox="1">
            <a:spLocks/>
          </p:cNvSpPr>
          <p:nvPr/>
        </p:nvSpPr>
        <p:spPr>
          <a:xfrm>
            <a:off x="1094014" y="862513"/>
            <a:ext cx="10794332" cy="81213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rgbClr val="0097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енности обучения в Военном университете</a:t>
            </a:r>
          </a:p>
        </p:txBody>
      </p:sp>
      <p:sp>
        <p:nvSpPr>
          <p:cNvPr id="18" name="Объект 2"/>
          <p:cNvSpPr txBox="1">
            <a:spLocks/>
          </p:cNvSpPr>
          <p:nvPr/>
        </p:nvSpPr>
        <p:spPr>
          <a:xfrm>
            <a:off x="1094014" y="1674645"/>
            <a:ext cx="10238015" cy="4721857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3300" i="1" dirty="0" smtClean="0"/>
              <a:t>  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</a:t>
            </a:r>
            <a:r>
              <a:rPr lang="ru-RU" sz="3000" b="1" spc="110" dirty="0" smtClean="0">
                <a:solidFill>
                  <a:srgbClr val="009788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-м курсе </a:t>
            </a:r>
            <a:r>
              <a:rPr lang="ru-RU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курсантами подписывается контракт </a:t>
            </a:r>
            <a:r>
              <a:rPr lang="en-US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прохождение военной службы на период обучения </a:t>
            </a:r>
            <a:r>
              <a:rPr lang="en-US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5 лет после окончания военного учебного заведения</a:t>
            </a:r>
          </a:p>
          <a:p>
            <a:pPr marL="0" indent="0">
              <a:buNone/>
            </a:pPr>
            <a:endParaRPr lang="en-US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35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</a:t>
            </a:r>
            <a:r>
              <a:rPr lang="en-US" sz="3000" b="1" spc="110" dirty="0">
                <a:solidFill>
                  <a:srgbClr val="009788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r>
              <a:rPr lang="ru-RU" sz="3000" b="1" spc="110" dirty="0">
                <a:solidFill>
                  <a:srgbClr val="009788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го курса </a:t>
            </a:r>
            <a:r>
              <a:rPr lang="ru-RU" sz="30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при выполнении требований </a:t>
            </a:r>
            <a:r>
              <a:rPr lang="ru-RU" sz="30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енного </a:t>
            </a:r>
            <a:r>
              <a:rPr lang="ru-RU" sz="30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ниверситета) женатым военнослужащим разрешено проживание с семьей за пределами военного городка</a:t>
            </a:r>
          </a:p>
        </p:txBody>
      </p:sp>
      <p:sp>
        <p:nvSpPr>
          <p:cNvPr id="19" name="Полилиния 18"/>
          <p:cNvSpPr/>
          <p:nvPr/>
        </p:nvSpPr>
        <p:spPr>
          <a:xfrm>
            <a:off x="155861" y="130629"/>
            <a:ext cx="11854543" cy="6515100"/>
          </a:xfrm>
          <a:custGeom>
            <a:avLst/>
            <a:gdLst>
              <a:gd name="connsiteX0" fmla="*/ 326572 w 11854543"/>
              <a:gd name="connsiteY0" fmla="*/ 293914 h 6515100"/>
              <a:gd name="connsiteX1" fmla="*/ 326572 w 11854543"/>
              <a:gd name="connsiteY1" fmla="*/ 6237514 h 6515100"/>
              <a:gd name="connsiteX2" fmla="*/ 11576956 w 11854543"/>
              <a:gd name="connsiteY2" fmla="*/ 6237514 h 6515100"/>
              <a:gd name="connsiteX3" fmla="*/ 11576956 w 11854543"/>
              <a:gd name="connsiteY3" fmla="*/ 293914 h 6515100"/>
              <a:gd name="connsiteX4" fmla="*/ 0 w 11854543"/>
              <a:gd name="connsiteY4" fmla="*/ 0 h 6515100"/>
              <a:gd name="connsiteX5" fmla="*/ 11854543 w 11854543"/>
              <a:gd name="connsiteY5" fmla="*/ 0 h 6515100"/>
              <a:gd name="connsiteX6" fmla="*/ 11854543 w 11854543"/>
              <a:gd name="connsiteY6" fmla="*/ 6515100 h 6515100"/>
              <a:gd name="connsiteX7" fmla="*/ 0 w 11854543"/>
              <a:gd name="connsiteY7" fmla="*/ 6515100 h 651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54543" h="6515100">
                <a:moveTo>
                  <a:pt x="326572" y="293914"/>
                </a:moveTo>
                <a:lnTo>
                  <a:pt x="326572" y="6237514"/>
                </a:lnTo>
                <a:lnTo>
                  <a:pt x="11576956" y="6237514"/>
                </a:lnTo>
                <a:lnTo>
                  <a:pt x="11576956" y="293914"/>
                </a:lnTo>
                <a:close/>
                <a:moveTo>
                  <a:pt x="0" y="0"/>
                </a:moveTo>
                <a:lnTo>
                  <a:pt x="11854543" y="0"/>
                </a:lnTo>
                <a:lnTo>
                  <a:pt x="11854543" y="6515100"/>
                </a:lnTo>
                <a:lnTo>
                  <a:pt x="0" y="6515100"/>
                </a:lnTo>
                <a:close/>
              </a:path>
            </a:pathLst>
          </a:custGeom>
          <a:solidFill>
            <a:srgbClr val="009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98052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30742" name="think-cell Slide" r:id="rId4" imgW="360" imgH="360" progId="">
              <p:embed/>
            </p:oleObj>
          </a:graphicData>
        </a:graphic>
      </p:graphicFrame>
      <p:sp>
        <p:nvSpPr>
          <p:cNvPr id="17" name="Заголовок 1"/>
          <p:cNvSpPr txBox="1">
            <a:spLocks/>
          </p:cNvSpPr>
          <p:nvPr/>
        </p:nvSpPr>
        <p:spPr>
          <a:xfrm>
            <a:off x="1216072" y="862513"/>
            <a:ext cx="10794332" cy="81213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rgbClr val="0097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енности обучения в Военном университете</a:t>
            </a:r>
          </a:p>
        </p:txBody>
      </p:sp>
      <p:sp>
        <p:nvSpPr>
          <p:cNvPr id="18" name="Объект 2"/>
          <p:cNvSpPr txBox="1">
            <a:spLocks/>
          </p:cNvSpPr>
          <p:nvPr/>
        </p:nvSpPr>
        <p:spPr>
          <a:xfrm>
            <a:off x="1094014" y="1674645"/>
            <a:ext cx="10515599" cy="4444272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3300" i="1" dirty="0" smtClean="0"/>
              <a:t>   </a:t>
            </a:r>
            <a:r>
              <a:rPr lang="ru-RU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Курсанты </a:t>
            </a:r>
            <a:r>
              <a:rPr lang="ru-RU" spc="13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по специальности </a:t>
            </a:r>
            <a:r>
              <a:rPr lang="ru-RU" b="1" spc="130" dirty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«Военная журналистика» </a:t>
            </a:r>
            <a:r>
              <a:rPr lang="en-US" b="1" spc="130" dirty="0" smtClean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b="1" spc="130" dirty="0" smtClean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активно </a:t>
            </a:r>
            <a:r>
              <a:rPr lang="ru-RU" spc="13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привлекаются к университетской жизни: </a:t>
            </a:r>
            <a:br>
              <a:rPr lang="ru-RU" spc="13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pc="13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участвуют в информационном сопровождении приемов официальных делегаций, делают фоторепортажи, </a:t>
            </a:r>
            <a:r>
              <a:rPr lang="ru-RU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отвечают </a:t>
            </a:r>
            <a:r>
              <a:rPr lang="en-US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за </a:t>
            </a:r>
            <a:r>
              <a:rPr lang="ru-RU" spc="13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выпуск университетской газеты, </a:t>
            </a:r>
            <a:r>
              <a:rPr lang="ru-RU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издают </a:t>
            </a:r>
            <a:r>
              <a:rPr lang="ru-RU" spc="13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радиогазету, </a:t>
            </a:r>
            <a:r>
              <a:rPr lang="ru-RU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участвуют </a:t>
            </a:r>
            <a:r>
              <a:rPr lang="ru-RU" spc="13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в научных </a:t>
            </a:r>
            <a:r>
              <a:rPr lang="ru-RU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разработках </a:t>
            </a:r>
            <a:r>
              <a:rPr lang="ru-RU" spc="13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в области </a:t>
            </a:r>
            <a:r>
              <a:rPr lang="ru-RU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информационного обеспечения военной деятельности и связей </a:t>
            </a:r>
            <a:r>
              <a:rPr lang="ru-RU" spc="13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с </a:t>
            </a:r>
            <a:r>
              <a:rPr lang="ru-RU" spc="13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общественностью</a:t>
            </a:r>
            <a:endParaRPr lang="en-US" spc="130" dirty="0" smtClean="0">
              <a:latin typeface="+mj-lt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600" spc="110" dirty="0" smtClean="0">
                <a:ea typeface="Verdana" panose="020B0604030504040204" pitchFamily="34" charset="0"/>
                <a:cs typeface="Arial" panose="020B0604020202020204" pitchFamily="34" charset="0"/>
              </a:rPr>
              <a:t>   </a:t>
            </a:r>
            <a:r>
              <a:rPr lang="ru-RU" spc="11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Обучение </a:t>
            </a:r>
            <a:r>
              <a:rPr lang="ru-RU" spc="11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сопровождается посещением крупнейших </a:t>
            </a:r>
            <a:r>
              <a:rPr lang="en-US" spc="11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pc="11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pc="11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СМИ</a:t>
            </a:r>
            <a:r>
              <a:rPr lang="ru-RU" spc="11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, расположенных в Москве: </a:t>
            </a:r>
            <a:r>
              <a:rPr lang="ru-RU" spc="110" dirty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ТАСС, МИА Россия Сегодня, </a:t>
            </a:r>
            <a:r>
              <a:rPr lang="en-US" spc="110" dirty="0" smtClean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pc="110" dirty="0" smtClean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pc="110" dirty="0" smtClean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РИА </a:t>
            </a:r>
            <a:r>
              <a:rPr lang="ru-RU" spc="110" dirty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Новости, ВГТРК, ТРК «Звезда», </a:t>
            </a:r>
            <a:r>
              <a:rPr lang="ru-RU" spc="110" dirty="0" smtClean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pc="110" dirty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Красная звезда</a:t>
            </a:r>
            <a:r>
              <a:rPr lang="ru-RU" spc="110" dirty="0" smtClean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», «</a:t>
            </a:r>
            <a:r>
              <a:rPr lang="ru-RU" spc="110" dirty="0">
                <a:solidFill>
                  <a:srgbClr val="009788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Известия», «АиФ», «КП»</a:t>
            </a:r>
            <a:r>
              <a:rPr lang="ru-RU" spc="11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 и др.</a:t>
            </a:r>
          </a:p>
        </p:txBody>
      </p:sp>
      <p:sp>
        <p:nvSpPr>
          <p:cNvPr id="19" name="Полилиния 18"/>
          <p:cNvSpPr/>
          <p:nvPr/>
        </p:nvSpPr>
        <p:spPr>
          <a:xfrm>
            <a:off x="155861" y="146958"/>
            <a:ext cx="11854543" cy="6515100"/>
          </a:xfrm>
          <a:custGeom>
            <a:avLst/>
            <a:gdLst>
              <a:gd name="connsiteX0" fmla="*/ 326572 w 11854543"/>
              <a:gd name="connsiteY0" fmla="*/ 293914 h 6515100"/>
              <a:gd name="connsiteX1" fmla="*/ 326572 w 11854543"/>
              <a:gd name="connsiteY1" fmla="*/ 6237514 h 6515100"/>
              <a:gd name="connsiteX2" fmla="*/ 11576956 w 11854543"/>
              <a:gd name="connsiteY2" fmla="*/ 6237514 h 6515100"/>
              <a:gd name="connsiteX3" fmla="*/ 11576956 w 11854543"/>
              <a:gd name="connsiteY3" fmla="*/ 293914 h 6515100"/>
              <a:gd name="connsiteX4" fmla="*/ 0 w 11854543"/>
              <a:gd name="connsiteY4" fmla="*/ 0 h 6515100"/>
              <a:gd name="connsiteX5" fmla="*/ 11854543 w 11854543"/>
              <a:gd name="connsiteY5" fmla="*/ 0 h 6515100"/>
              <a:gd name="connsiteX6" fmla="*/ 11854543 w 11854543"/>
              <a:gd name="connsiteY6" fmla="*/ 6515100 h 6515100"/>
              <a:gd name="connsiteX7" fmla="*/ 0 w 11854543"/>
              <a:gd name="connsiteY7" fmla="*/ 6515100 h 651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54543" h="6515100">
                <a:moveTo>
                  <a:pt x="326572" y="293914"/>
                </a:moveTo>
                <a:lnTo>
                  <a:pt x="326572" y="6237514"/>
                </a:lnTo>
                <a:lnTo>
                  <a:pt x="11576956" y="6237514"/>
                </a:lnTo>
                <a:lnTo>
                  <a:pt x="11576956" y="293914"/>
                </a:lnTo>
                <a:close/>
                <a:moveTo>
                  <a:pt x="0" y="0"/>
                </a:moveTo>
                <a:lnTo>
                  <a:pt x="11854543" y="0"/>
                </a:lnTo>
                <a:lnTo>
                  <a:pt x="11854543" y="6515100"/>
                </a:lnTo>
                <a:lnTo>
                  <a:pt x="0" y="6515100"/>
                </a:lnTo>
                <a:close/>
              </a:path>
            </a:pathLst>
          </a:custGeom>
          <a:solidFill>
            <a:srgbClr val="009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4404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31764" name="think-cell Slide" r:id="rId5" imgW="360" imgH="360" progId="">
              <p:embed/>
            </p:oleObj>
          </a:graphicData>
        </a:graphic>
      </p:graphicFrame>
      <p:sp>
        <p:nvSpPr>
          <p:cNvPr id="17" name="Заголовок 1"/>
          <p:cNvSpPr txBox="1">
            <a:spLocks/>
          </p:cNvSpPr>
          <p:nvPr/>
        </p:nvSpPr>
        <p:spPr>
          <a:xfrm>
            <a:off x="1094014" y="862513"/>
            <a:ext cx="10794332" cy="81213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rgbClr val="0097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окончании Военного университета</a:t>
            </a:r>
            <a:endParaRPr lang="ru-RU" sz="3200" b="1" dirty="0" smtClean="0">
              <a:solidFill>
                <a:srgbClr val="00978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Объект 2"/>
          <p:cNvSpPr txBox="1">
            <a:spLocks/>
          </p:cNvSpPr>
          <p:nvPr/>
        </p:nvSpPr>
        <p:spPr>
          <a:xfrm>
            <a:off x="1094014" y="1397060"/>
            <a:ext cx="10548257" cy="4721857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3300" i="1" dirty="0" smtClean="0"/>
              <a:t>   </a:t>
            </a:r>
          </a:p>
          <a:p>
            <a:pPr marL="0" indent="0">
              <a:buNone/>
            </a:pPr>
            <a:r>
              <a:rPr lang="ru-RU" i="1" dirty="0"/>
              <a:t>Выпускник получает: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2600" b="1" spc="110" dirty="0">
                <a:solidFill>
                  <a:srgbClr val="009788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ударственный диплом РФ </a:t>
            </a:r>
            <a:r>
              <a:rPr lang="ru-RU" sz="26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 окончании </a:t>
            </a:r>
            <a:r>
              <a:rPr lang="ru-RU" sz="26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ысшего учебного заведения </a:t>
            </a:r>
            <a:r>
              <a:rPr lang="ru-RU" sz="26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высшее образование, «специалитет») </a:t>
            </a:r>
            <a:endParaRPr lang="en-US" sz="2600" spc="110" dirty="0" smtClean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26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</a:t>
            </a:r>
            <a:r>
              <a:rPr lang="ru-RU" sz="26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пециальности «Военная журналистика</a:t>
            </a:r>
            <a:r>
              <a:rPr lang="ru-RU" sz="26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(ВУС 808000)</a:t>
            </a:r>
            <a:endParaRPr lang="en-US" sz="2600" spc="110" dirty="0" smtClean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 algn="just">
              <a:spcBef>
                <a:spcPts val="0"/>
              </a:spcBef>
              <a:buNone/>
            </a:pPr>
            <a:r>
              <a:rPr lang="ru-RU" sz="26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30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z="30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endParaRPr lang="ru-RU" sz="3000" spc="11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2600" b="1" spc="110" dirty="0">
                <a:solidFill>
                  <a:srgbClr val="009788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арантированное трудоустройство</a:t>
            </a:r>
          </a:p>
          <a:p>
            <a:pPr marL="0" indent="0">
              <a:buNone/>
            </a:pP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i="1" dirty="0"/>
              <a:t>Выпускнику присваивается:</a:t>
            </a:r>
          </a:p>
          <a:p>
            <a:pPr marL="0" indent="0">
              <a:buNone/>
            </a:pPr>
            <a:endParaRPr lang="ru-RU" sz="700" dirty="0"/>
          </a:p>
          <a:p>
            <a:pPr marL="0" indent="0">
              <a:buNone/>
            </a:pPr>
            <a:r>
              <a:rPr lang="ru-RU" sz="26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инское звание – «лейтенант»</a:t>
            </a:r>
          </a:p>
          <a:p>
            <a:pPr marL="0" indent="0">
              <a:buNone/>
            </a:pPr>
            <a:r>
              <a:rPr lang="ru-RU" sz="26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валификация </a:t>
            </a:r>
            <a:r>
              <a:rPr lang="ru-RU" sz="2600" spc="11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</a:t>
            </a:r>
            <a:r>
              <a:rPr lang="ru-RU" sz="2600" spc="11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журналист»</a:t>
            </a:r>
          </a:p>
        </p:txBody>
      </p:sp>
      <p:sp>
        <p:nvSpPr>
          <p:cNvPr id="19" name="Полилиния 18"/>
          <p:cNvSpPr/>
          <p:nvPr/>
        </p:nvSpPr>
        <p:spPr>
          <a:xfrm>
            <a:off x="172190" y="163286"/>
            <a:ext cx="11854543" cy="6515100"/>
          </a:xfrm>
          <a:custGeom>
            <a:avLst/>
            <a:gdLst>
              <a:gd name="connsiteX0" fmla="*/ 326572 w 11854543"/>
              <a:gd name="connsiteY0" fmla="*/ 293914 h 6515100"/>
              <a:gd name="connsiteX1" fmla="*/ 326572 w 11854543"/>
              <a:gd name="connsiteY1" fmla="*/ 6237514 h 6515100"/>
              <a:gd name="connsiteX2" fmla="*/ 11576956 w 11854543"/>
              <a:gd name="connsiteY2" fmla="*/ 6237514 h 6515100"/>
              <a:gd name="connsiteX3" fmla="*/ 11576956 w 11854543"/>
              <a:gd name="connsiteY3" fmla="*/ 293914 h 6515100"/>
              <a:gd name="connsiteX4" fmla="*/ 0 w 11854543"/>
              <a:gd name="connsiteY4" fmla="*/ 0 h 6515100"/>
              <a:gd name="connsiteX5" fmla="*/ 11854543 w 11854543"/>
              <a:gd name="connsiteY5" fmla="*/ 0 h 6515100"/>
              <a:gd name="connsiteX6" fmla="*/ 11854543 w 11854543"/>
              <a:gd name="connsiteY6" fmla="*/ 6515100 h 6515100"/>
              <a:gd name="connsiteX7" fmla="*/ 0 w 11854543"/>
              <a:gd name="connsiteY7" fmla="*/ 6515100 h 651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54543" h="6515100">
                <a:moveTo>
                  <a:pt x="326572" y="293914"/>
                </a:moveTo>
                <a:lnTo>
                  <a:pt x="326572" y="6237514"/>
                </a:lnTo>
                <a:lnTo>
                  <a:pt x="11576956" y="6237514"/>
                </a:lnTo>
                <a:lnTo>
                  <a:pt x="11576956" y="293914"/>
                </a:lnTo>
                <a:close/>
                <a:moveTo>
                  <a:pt x="0" y="0"/>
                </a:moveTo>
                <a:lnTo>
                  <a:pt x="11854543" y="0"/>
                </a:lnTo>
                <a:lnTo>
                  <a:pt x="11854543" y="6515100"/>
                </a:lnTo>
                <a:lnTo>
                  <a:pt x="0" y="6515100"/>
                </a:lnTo>
                <a:close/>
              </a:path>
            </a:pathLst>
          </a:custGeom>
          <a:solidFill>
            <a:srgbClr val="009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45002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/>
          <p:nvPr/>
        </p:nvSpPr>
        <p:spPr>
          <a:xfrm>
            <a:off x="0" y="0"/>
            <a:ext cx="12192000" cy="6874331"/>
          </a:xfrm>
          <a:prstGeom prst="rect">
            <a:avLst/>
          </a:prstGeom>
          <a:gradFill>
            <a:gsLst>
              <a:gs pos="0">
                <a:srgbClr val="673BB7">
                  <a:alpha val="80000"/>
                </a:srgbClr>
              </a:gs>
              <a:gs pos="100000">
                <a:srgbClr val="0E47A1">
                  <a:alpha val="80000"/>
                </a:srgbClr>
              </a:gs>
            </a:gsLst>
            <a:lin ang="7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04">
              <a:solidFill>
                <a:prstClr val="white"/>
              </a:solidFill>
              <a:latin typeface="Arial" panose="020B0604020202020204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32787" name="think-cell Slide" r:id="rId4" imgW="360" imgH="360" progId="">
              <p:embed/>
            </p:oleObj>
          </a:graphicData>
        </a:graphic>
      </p:graphicFrame>
      <p:sp>
        <p:nvSpPr>
          <p:cNvPr id="17" name="Заголовок 1"/>
          <p:cNvSpPr txBox="1">
            <a:spLocks/>
          </p:cNvSpPr>
          <p:nvPr/>
        </p:nvSpPr>
        <p:spPr>
          <a:xfrm>
            <a:off x="1176647" y="2774407"/>
            <a:ext cx="10515599" cy="129285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30000"/>
              </a:lnSpc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глашаем стать востребованным специалистом </a:t>
            </a:r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ести пользу своему Отечеству!!!</a:t>
            </a:r>
            <a:endParaRPr lang="ru-RU" sz="2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Объект 2"/>
          <p:cNvSpPr txBox="1">
            <a:spLocks/>
          </p:cNvSpPr>
          <p:nvPr/>
        </p:nvSpPr>
        <p:spPr>
          <a:xfrm>
            <a:off x="1094014" y="1397060"/>
            <a:ext cx="10515599" cy="472185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3300" i="1" dirty="0" smtClean="0"/>
              <a:t>   </a:t>
            </a:r>
          </a:p>
          <a:p>
            <a:pPr marL="0" indent="0" algn="ctr">
              <a:buNone/>
            </a:pPr>
            <a:endParaRPr lang="ru-RU" sz="2400" i="1" dirty="0" smtClean="0"/>
          </a:p>
          <a:p>
            <a:pPr marL="0" indent="0" algn="ctr">
              <a:buNone/>
            </a:pPr>
            <a:endParaRPr lang="ru-RU" sz="2400" i="1" dirty="0"/>
          </a:p>
          <a:p>
            <a:pPr marL="0" indent="0" algn="ctr">
              <a:buNone/>
            </a:pPr>
            <a:endParaRPr lang="ru-RU" sz="2400" i="1" dirty="0" smtClean="0"/>
          </a:p>
          <a:p>
            <a:pPr marL="0" indent="0" algn="ctr">
              <a:buNone/>
            </a:pPr>
            <a:endParaRPr lang="ru-RU" sz="2400" i="1" dirty="0"/>
          </a:p>
        </p:txBody>
      </p:sp>
      <p:sp>
        <p:nvSpPr>
          <p:cNvPr id="8" name="Полилиния 7"/>
          <p:cNvSpPr/>
          <p:nvPr/>
        </p:nvSpPr>
        <p:spPr>
          <a:xfrm>
            <a:off x="172190" y="163286"/>
            <a:ext cx="11854543" cy="6515100"/>
          </a:xfrm>
          <a:custGeom>
            <a:avLst/>
            <a:gdLst>
              <a:gd name="connsiteX0" fmla="*/ 326572 w 11854543"/>
              <a:gd name="connsiteY0" fmla="*/ 293914 h 6515100"/>
              <a:gd name="connsiteX1" fmla="*/ 326572 w 11854543"/>
              <a:gd name="connsiteY1" fmla="*/ 6237514 h 6515100"/>
              <a:gd name="connsiteX2" fmla="*/ 11576956 w 11854543"/>
              <a:gd name="connsiteY2" fmla="*/ 6237514 h 6515100"/>
              <a:gd name="connsiteX3" fmla="*/ 11576956 w 11854543"/>
              <a:gd name="connsiteY3" fmla="*/ 293914 h 6515100"/>
              <a:gd name="connsiteX4" fmla="*/ 0 w 11854543"/>
              <a:gd name="connsiteY4" fmla="*/ 0 h 6515100"/>
              <a:gd name="connsiteX5" fmla="*/ 11854543 w 11854543"/>
              <a:gd name="connsiteY5" fmla="*/ 0 h 6515100"/>
              <a:gd name="connsiteX6" fmla="*/ 11854543 w 11854543"/>
              <a:gd name="connsiteY6" fmla="*/ 6515100 h 6515100"/>
              <a:gd name="connsiteX7" fmla="*/ 0 w 11854543"/>
              <a:gd name="connsiteY7" fmla="*/ 6515100 h 651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54543" h="6515100">
                <a:moveTo>
                  <a:pt x="326572" y="293914"/>
                </a:moveTo>
                <a:lnTo>
                  <a:pt x="326572" y="6237514"/>
                </a:lnTo>
                <a:lnTo>
                  <a:pt x="11576956" y="6237514"/>
                </a:lnTo>
                <a:lnTo>
                  <a:pt x="11576956" y="293914"/>
                </a:lnTo>
                <a:close/>
                <a:moveTo>
                  <a:pt x="0" y="0"/>
                </a:moveTo>
                <a:lnTo>
                  <a:pt x="11854543" y="0"/>
                </a:lnTo>
                <a:lnTo>
                  <a:pt x="11854543" y="6515100"/>
                </a:lnTo>
                <a:lnTo>
                  <a:pt x="0" y="6515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9242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86638" cy="685800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04">
              <a:solidFill>
                <a:schemeClr val="bg1"/>
              </a:solidFill>
              <a:latin typeface="Arial" panose="020B0604020202020204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5053" y="-4368"/>
            <a:ext cx="10261585" cy="6862368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26663" name="think-cell Slide" r:id="rId5" imgW="360" imgH="360" progId="">
              <p:embed/>
            </p:oleObj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947058" y="1718163"/>
            <a:ext cx="4457700" cy="3412671"/>
          </a:xfrm>
          <a:prstGeom prst="rect">
            <a:avLst/>
          </a:prstGeom>
          <a:solidFill>
            <a:srgbClr val="00BBD4"/>
          </a:solidFill>
          <a:ln>
            <a:noFill/>
          </a:ln>
          <a:effectLst>
            <a:outerShdw blurRad="203200" dist="38100" dir="2700000" algn="tl" rotWithShape="0">
              <a:srgbClr val="00BBD4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vumo.mil.ru</a:t>
            </a:r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</a:p>
          <a:p>
            <a:pPr algn="ctr"/>
            <a:endParaRPr lang="en-US" sz="20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mail: ps-ak@mil.ru</a:t>
            </a:r>
            <a:endParaRPr lang="ru-RU" sz="20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09147" y="328403"/>
            <a:ext cx="7968343" cy="10613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0388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33977" y="506108"/>
            <a:ext cx="11234600" cy="879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6859" tIns="53430" rIns="106859" bIns="5343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600" b="1" dirty="0">
                <a:gradFill>
                  <a:gsLst>
                    <a:gs pos="97000">
                      <a:srgbClr val="00BBD4"/>
                    </a:gs>
                    <a:gs pos="0">
                      <a:srgbClr val="673BB7"/>
                    </a:gs>
                  </a:gsLst>
                  <a:lin ang="480000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ТО МОЖЕТ ПОСТУПИТЬ В ВОЕННЫЙ УНИВЕРСИТЕТ </a:t>
            </a:r>
          </a:p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600" b="1" dirty="0">
                <a:gradFill>
                  <a:gsLst>
                    <a:gs pos="97000">
                      <a:srgbClr val="00BBD4"/>
                    </a:gs>
                    <a:gs pos="0">
                      <a:srgbClr val="673BB7"/>
                    </a:gs>
                  </a:gsLst>
                  <a:lin ang="480000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А «ВОЕННУЮ ЖУРНАЛИСТИКУ»?</a:t>
            </a:r>
          </a:p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155861" y="114300"/>
            <a:ext cx="11854543" cy="6515100"/>
          </a:xfrm>
          <a:custGeom>
            <a:avLst/>
            <a:gdLst>
              <a:gd name="connsiteX0" fmla="*/ 326572 w 11854543"/>
              <a:gd name="connsiteY0" fmla="*/ 293914 h 6515100"/>
              <a:gd name="connsiteX1" fmla="*/ 326572 w 11854543"/>
              <a:gd name="connsiteY1" fmla="*/ 6237514 h 6515100"/>
              <a:gd name="connsiteX2" fmla="*/ 11576956 w 11854543"/>
              <a:gd name="connsiteY2" fmla="*/ 6237514 h 6515100"/>
              <a:gd name="connsiteX3" fmla="*/ 11576956 w 11854543"/>
              <a:gd name="connsiteY3" fmla="*/ 293914 h 6515100"/>
              <a:gd name="connsiteX4" fmla="*/ 0 w 11854543"/>
              <a:gd name="connsiteY4" fmla="*/ 0 h 6515100"/>
              <a:gd name="connsiteX5" fmla="*/ 11854543 w 11854543"/>
              <a:gd name="connsiteY5" fmla="*/ 0 h 6515100"/>
              <a:gd name="connsiteX6" fmla="*/ 11854543 w 11854543"/>
              <a:gd name="connsiteY6" fmla="*/ 6515100 h 6515100"/>
              <a:gd name="connsiteX7" fmla="*/ 0 w 11854543"/>
              <a:gd name="connsiteY7" fmla="*/ 6515100 h 651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54543" h="6515100">
                <a:moveTo>
                  <a:pt x="326572" y="293914"/>
                </a:moveTo>
                <a:lnTo>
                  <a:pt x="326572" y="6237514"/>
                </a:lnTo>
                <a:lnTo>
                  <a:pt x="11576956" y="6237514"/>
                </a:lnTo>
                <a:lnTo>
                  <a:pt x="11576956" y="293914"/>
                </a:lnTo>
                <a:close/>
                <a:moveTo>
                  <a:pt x="0" y="0"/>
                </a:moveTo>
                <a:lnTo>
                  <a:pt x="11854543" y="0"/>
                </a:lnTo>
                <a:lnTo>
                  <a:pt x="11854543" y="6515100"/>
                </a:lnTo>
                <a:lnTo>
                  <a:pt x="0" y="6515100"/>
                </a:lnTo>
                <a:close/>
              </a:path>
            </a:pathLst>
          </a:custGeom>
          <a:gradFill>
            <a:gsLst>
              <a:gs pos="97000">
                <a:srgbClr val="00BBD4"/>
              </a:gs>
              <a:gs pos="0">
                <a:srgbClr val="673BB7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089419" y="1777177"/>
            <a:ext cx="10123715" cy="4158104"/>
          </a:xfrm>
          <a:prstGeom prst="rect">
            <a:avLst/>
          </a:prstGeom>
          <a:gradFill>
            <a:gsLst>
              <a:gs pos="87000">
                <a:srgbClr val="00BBD4"/>
              </a:gs>
              <a:gs pos="0">
                <a:srgbClr val="673BB7"/>
              </a:gs>
            </a:gsLst>
            <a:lin ang="4800000" scaled="0"/>
          </a:gradFill>
          <a:ln w="34925" cmpd="tri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0000"/>
            <a:endParaRPr lang="en-US" sz="2400" i="1" dirty="0" smtClean="0"/>
          </a:p>
          <a:p>
            <a:pPr marL="540000"/>
            <a:r>
              <a:rPr lang="ru-RU" sz="2400" i="1" dirty="0" smtClean="0"/>
              <a:t>Граждане РФ </a:t>
            </a:r>
            <a:r>
              <a:rPr lang="ru-RU" sz="2400" i="1" u="sng" dirty="0" smtClean="0"/>
              <a:t>мужского пола</a:t>
            </a:r>
            <a:r>
              <a:rPr lang="ru-RU" sz="2400" i="1" dirty="0" smtClean="0"/>
              <a:t>, имеющие среднее образование:</a:t>
            </a:r>
          </a:p>
          <a:p>
            <a:pPr marL="540000"/>
            <a:endParaRPr lang="ru-RU" sz="2400" i="1" dirty="0" smtClean="0"/>
          </a:p>
          <a:p>
            <a:pPr marL="540000"/>
            <a:r>
              <a:rPr lang="ru-RU" sz="2400" i="1" dirty="0" smtClean="0"/>
              <a:t>возрастом </a:t>
            </a:r>
            <a:r>
              <a:rPr lang="ru-RU" sz="2400" i="1" dirty="0"/>
              <a:t>от </a:t>
            </a:r>
            <a:r>
              <a:rPr lang="ru-RU" sz="2400" b="1" i="1" dirty="0"/>
              <a:t>16 до 22</a:t>
            </a:r>
            <a:r>
              <a:rPr lang="ru-RU" sz="2400" i="1" dirty="0"/>
              <a:t> </a:t>
            </a:r>
            <a:r>
              <a:rPr lang="ru-RU" sz="2400" i="1" dirty="0" smtClean="0"/>
              <a:t>лет (для не </a:t>
            </a:r>
            <a:r>
              <a:rPr lang="ru-RU" sz="2400" i="1" dirty="0"/>
              <a:t>проходивших военную </a:t>
            </a:r>
            <a:r>
              <a:rPr lang="ru-RU" sz="2400" i="1" dirty="0" smtClean="0"/>
              <a:t>службу)</a:t>
            </a:r>
            <a:endParaRPr lang="ru-RU" sz="2400" i="1" dirty="0"/>
          </a:p>
          <a:p>
            <a:pPr marL="540000"/>
            <a:endParaRPr lang="ru-RU" sz="2400" i="1" dirty="0" smtClean="0"/>
          </a:p>
          <a:p>
            <a:pPr marL="540000"/>
            <a:r>
              <a:rPr lang="ru-RU" sz="2400" i="1" dirty="0" smtClean="0"/>
              <a:t>возрастом </a:t>
            </a:r>
            <a:r>
              <a:rPr lang="ru-RU" sz="2400" b="1" i="1" dirty="0" smtClean="0"/>
              <a:t>до 24</a:t>
            </a:r>
            <a:r>
              <a:rPr lang="ru-RU" sz="2400" i="1" dirty="0"/>
              <a:t> лет </a:t>
            </a:r>
            <a:r>
              <a:rPr lang="ru-RU" sz="2400" i="1" dirty="0" smtClean="0"/>
              <a:t>(для прошедших </a:t>
            </a:r>
            <a:r>
              <a:rPr lang="ru-RU" sz="2400" i="1" dirty="0"/>
              <a:t>военную службу, </a:t>
            </a:r>
            <a:r>
              <a:rPr lang="ru-RU" sz="2400" i="1" dirty="0" smtClean="0"/>
              <a:t/>
            </a:r>
            <a:br>
              <a:rPr lang="ru-RU" sz="2400" i="1" dirty="0" smtClean="0"/>
            </a:br>
            <a:r>
              <a:rPr lang="ru-RU" sz="2400" i="1" dirty="0" smtClean="0"/>
              <a:t>и </a:t>
            </a:r>
            <a:r>
              <a:rPr lang="ru-RU" sz="2400" i="1" dirty="0"/>
              <a:t>военнослужащих, проходящих военную службу по </a:t>
            </a:r>
            <a:r>
              <a:rPr lang="ru-RU" sz="2400" i="1" dirty="0" smtClean="0"/>
              <a:t>призыву)</a:t>
            </a:r>
            <a:endParaRPr lang="ru-RU" sz="2400" i="1" dirty="0"/>
          </a:p>
          <a:p>
            <a:pPr marL="540000"/>
            <a:endParaRPr lang="ru-RU" sz="2400" i="1" dirty="0" smtClean="0"/>
          </a:p>
          <a:p>
            <a:pPr marL="540000"/>
            <a:r>
              <a:rPr lang="ru-RU" sz="2400" i="1" dirty="0"/>
              <a:t>возрастом </a:t>
            </a:r>
            <a:r>
              <a:rPr lang="ru-RU" sz="2400" b="1" i="1" dirty="0"/>
              <a:t>до </a:t>
            </a:r>
            <a:r>
              <a:rPr lang="ru-RU" sz="2400" b="1" i="1" dirty="0" smtClean="0"/>
              <a:t>27</a:t>
            </a:r>
            <a:r>
              <a:rPr lang="ru-RU" sz="2400" i="1" dirty="0"/>
              <a:t> лет </a:t>
            </a:r>
            <a:r>
              <a:rPr lang="ru-RU" sz="2400" i="1" dirty="0" smtClean="0"/>
              <a:t>(для военнослужащих</a:t>
            </a:r>
            <a:r>
              <a:rPr lang="ru-RU" sz="2400" i="1" dirty="0"/>
              <a:t>, проходящих военную службу по контракту (кроме </a:t>
            </a:r>
            <a:r>
              <a:rPr lang="ru-RU" sz="2400" i="1" dirty="0" smtClean="0"/>
              <a:t>офицеров)</a:t>
            </a:r>
          </a:p>
          <a:p>
            <a:endParaRPr lang="ru-RU" i="1" dirty="0"/>
          </a:p>
          <a:p>
            <a:r>
              <a:rPr lang="ru-RU" dirty="0" smtClean="0"/>
              <a:t>  * Возраст </a:t>
            </a:r>
            <a:r>
              <a:rPr lang="ru-RU" dirty="0"/>
              <a:t>поступающих на учёбу лиц определяется по состоянию </a:t>
            </a:r>
            <a:r>
              <a:rPr lang="ru-RU" i="1" u="sng" dirty="0"/>
              <a:t>на 1 августа</a:t>
            </a:r>
            <a:r>
              <a:rPr lang="ru-RU" dirty="0"/>
              <a:t> года </a:t>
            </a:r>
            <a:r>
              <a:rPr lang="ru-RU" dirty="0" smtClean="0"/>
              <a:t>поступления</a:t>
            </a:r>
            <a:endParaRPr lang="en-US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36427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33977" y="273082"/>
            <a:ext cx="11234600" cy="879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6859" tIns="53430" rIns="106859" bIns="5343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ПОСТУПИТЬ В ВОЕННЫЙ УНИВЕРСИТЕТ </a:t>
            </a:r>
          </a:p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«ВОЕННУЮ ЖУРНАЛИСТИКУ»?</a:t>
            </a:r>
          </a:p>
          <a:p>
            <a:pPr algn="ctr"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выпускников школ и суворовских (нахимовских) военных училищ, кадетских корпусов и пр.</a:t>
            </a:r>
            <a:r>
              <a:rPr lang="en-US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040726" y="1876439"/>
            <a:ext cx="110551" cy="4981562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8357" tIns="53430" rIns="106859" bIns="53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endParaRPr lang="ru-RU" sz="152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5795897" y="1366186"/>
            <a:ext cx="600206" cy="598195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РТ</a:t>
            </a:r>
            <a:endParaRPr lang="ru-RU" sz="1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65292" y="2448942"/>
            <a:ext cx="3369666" cy="10067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87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 февраля 2020 г.</a:t>
            </a:r>
            <a:r>
              <a:rPr lang="ru-RU" sz="1871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71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рать предметы ЕГЭ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но готовиться к ним</a:t>
            </a:r>
            <a:endParaRPr lang="ru-RU" sz="1871" dirty="0">
              <a:solidFill>
                <a:srgbClr val="03A9F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59526" y="4127429"/>
            <a:ext cx="2984888" cy="1106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ССКИЙ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ЗЫК</a:t>
            </a:r>
          </a:p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ТЕРАТУРА</a:t>
            </a:r>
          </a:p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Я</a:t>
            </a:r>
            <a:endParaRPr lang="ru-RU" sz="20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526950" y="4219730"/>
            <a:ext cx="3666982" cy="1013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871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87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апреля 2020 </a:t>
            </a:r>
            <a:r>
              <a:rPr lang="ru-RU" sz="1871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lang="ru-RU" sz="187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871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71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ть заявление в военкомат своей области (края)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месту регистрации </a:t>
            </a:r>
            <a:endParaRPr lang="ru-RU" sz="1400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069025" fontAlgn="base">
              <a:defRPr/>
            </a:pPr>
            <a:r>
              <a:rPr lang="ru-RU" sz="1200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И Л И</a:t>
            </a:r>
          </a:p>
          <a:p>
            <a:pPr defTabSz="1069025" fontAlgn="base">
              <a:spcAft>
                <a:spcPts val="701"/>
              </a:spcAft>
              <a:defRPr/>
            </a:pP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ть рапорт на имя  начальника училища</a:t>
            </a:r>
            <a:endParaRPr lang="ru-RU" sz="1871" dirty="0">
              <a:solidFill>
                <a:srgbClr val="03A9F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795896" y="2601926"/>
            <a:ext cx="472995" cy="344627"/>
            <a:chOff x="4955076" y="2225490"/>
            <a:chExt cx="404564" cy="294768"/>
          </a:xfrm>
        </p:grpSpPr>
        <p:sp>
          <p:nvSpPr>
            <p:cNvPr id="7" name="Oval 6"/>
            <p:cNvSpPr/>
            <p:nvPr/>
          </p:nvSpPr>
          <p:spPr>
            <a:xfrm>
              <a:off x="5063881" y="2225490"/>
              <a:ext cx="295759" cy="294768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69025" fontAlgn="base">
                <a:spcBef>
                  <a:spcPts val="701"/>
                </a:spcBef>
                <a:spcAft>
                  <a:spcPts val="701"/>
                </a:spcAft>
                <a:defRPr/>
              </a:pPr>
              <a:r>
                <a:rPr lang="ru-RU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4955076" y="2372874"/>
              <a:ext cx="151748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Группа 21"/>
          <p:cNvGrpSpPr/>
          <p:nvPr/>
        </p:nvGrpSpPr>
        <p:grpSpPr>
          <a:xfrm>
            <a:off x="5902182" y="3902337"/>
            <a:ext cx="472998" cy="337941"/>
            <a:chOff x="5923105" y="3584098"/>
            <a:chExt cx="472998" cy="337941"/>
          </a:xfrm>
        </p:grpSpPr>
        <p:sp>
          <p:nvSpPr>
            <p:cNvPr id="9" name="Oval 8"/>
            <p:cNvSpPr/>
            <p:nvPr/>
          </p:nvSpPr>
          <p:spPr>
            <a:xfrm rot="10800000" flipV="1">
              <a:off x="5923105" y="3584098"/>
              <a:ext cx="345789" cy="337941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69025" fontAlgn="base">
                <a:spcBef>
                  <a:spcPts val="701"/>
                </a:spcBef>
                <a:spcAft>
                  <a:spcPts val="701"/>
                </a:spcAft>
                <a:defRPr/>
              </a:pPr>
              <a:r>
                <a:rPr lang="ru-RU" sz="152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52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8" name="Straight Connector 27"/>
            <p:cNvCxnSpPr/>
            <p:nvPr/>
          </p:nvCxnSpPr>
          <p:spPr>
            <a:xfrm rot="10800000">
              <a:off x="6218687" y="3729387"/>
              <a:ext cx="17741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19"/>
          <p:cNvSpPr/>
          <p:nvPr/>
        </p:nvSpPr>
        <p:spPr>
          <a:xfrm>
            <a:off x="6766975" y="1505571"/>
            <a:ext cx="4222154" cy="622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приняли решение стать курсантом по специальности «Военная журналистика»</a:t>
            </a:r>
            <a:endParaRPr lang="ru-RU" sz="1871" dirty="0">
              <a:solidFill>
                <a:srgbClr val="03A9F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613054" y="5728196"/>
            <a:ext cx="48796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ускники 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воровских военных 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илищ </a:t>
            </a:r>
            <a:b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оенных корпусов, военно-морских и кадетских училищ) 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ют 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порт 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имя начальника училища, 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тором они 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тся.</a:t>
            </a:r>
            <a:endParaRPr lang="ru-RU" sz="14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Овал 25"/>
          <p:cNvSpPr>
            <a:spLocks noChangeAspect="1"/>
          </p:cNvSpPr>
          <p:nvPr/>
        </p:nvSpPr>
        <p:spPr>
          <a:xfrm>
            <a:off x="874799" y="2088290"/>
            <a:ext cx="1711446" cy="1633907"/>
          </a:xfrm>
          <a:prstGeom prst="ellipse">
            <a:avLst/>
          </a:prstGeom>
          <a:blipFill dpi="0" rotWithShape="1">
            <a:blip r:embed="rId2" cstate="email">
              <a:alphaModFix amt="88000"/>
              <a:extLst>
                <a:ext uri="{BEBA8EAE-BF5A-486C-A8C5-ECC9F3942E4B}">
                  <a14:imgProps xmlns="" xmlns:a14="http://schemas.microsoft.com/office/drawing/2010/main">
                    <a14:imgLayer r:embed="rId3">
                      <a14:imgEffect>
                        <a14:colorTemperature colorTemp="88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 b="835"/>
            </a:stretch>
          </a:blipFill>
          <a:ln>
            <a:noFill/>
          </a:ln>
          <a:effectLst>
            <a:outerShdw blurRad="254000" dist="127000" dir="24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Овал 26"/>
          <p:cNvSpPr>
            <a:spLocks noChangeAspect="1"/>
          </p:cNvSpPr>
          <p:nvPr/>
        </p:nvSpPr>
        <p:spPr>
          <a:xfrm>
            <a:off x="9254594" y="2549662"/>
            <a:ext cx="1711446" cy="1633907"/>
          </a:xfrm>
          <a:prstGeom prst="ellipse">
            <a:avLst/>
          </a:prstGeom>
          <a:blipFill dpi="0" rotWithShape="1">
            <a:blip r:embed="rId4" cstate="email">
              <a:alphaModFix amt="88000"/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 t="1164"/>
            </a:stretch>
          </a:blipFill>
          <a:ln>
            <a:noFill/>
          </a:ln>
          <a:effectLst>
            <a:outerShdw blurRad="254000" dist="127000" dir="24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62194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40726" y="-1"/>
            <a:ext cx="110551" cy="6858001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8357" tIns="53430" rIns="106859" bIns="53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endParaRPr lang="ru-RU" sz="152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362796" y="1254899"/>
            <a:ext cx="3216153" cy="622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ить необходимые документы</a:t>
            </a:r>
            <a:endParaRPr lang="ru-RU" sz="1871" dirty="0">
              <a:solidFill>
                <a:srgbClr val="03A9F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5923106" y="1159425"/>
            <a:ext cx="345786" cy="328922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52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52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5923106" y="3148941"/>
            <a:ext cx="345786" cy="344627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52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52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5923106" y="5063791"/>
            <a:ext cx="345786" cy="344627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52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sz="152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35089" y="1013235"/>
            <a:ext cx="3559844" cy="1106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ный перечень документов можно узнать     в военкомате или на сайте Военного университета:</a:t>
            </a:r>
          </a:p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mo.mil.ru</a:t>
            </a:r>
          </a:p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169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дел «Поступающим»</a:t>
            </a:r>
            <a:endParaRPr lang="ru-RU" sz="1169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766975" y="3117651"/>
            <a:ext cx="3066202" cy="622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пешно сдать </a:t>
            </a:r>
            <a:r>
              <a:rPr lang="ru-RU" sz="1871" b="1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Э </a:t>
            </a:r>
            <a:endParaRPr lang="ru-RU" sz="1871" dirty="0">
              <a:solidFill>
                <a:srgbClr val="03A9F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66975" y="3580596"/>
            <a:ext cx="3227958" cy="1106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русскому языку, литературе </a:t>
            </a:r>
            <a:b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истории – не ниже, чем на 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ллов</a:t>
            </a:r>
            <a:b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минимальные требования).</a:t>
            </a:r>
          </a:p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райтесь набрать как можно больше баллов. </a:t>
            </a:r>
          </a:p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во Всероссийских олимпиадах по указанным предметам может также помочь повысить балл или пройти по упрощенной процедуре.</a:t>
            </a:r>
            <a:endParaRPr lang="ru-RU" sz="1169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62938" y="5336497"/>
            <a:ext cx="4354306" cy="622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ить приглашение из Военного университета</a:t>
            </a:r>
            <a:endParaRPr lang="ru-RU" sz="1871" dirty="0">
              <a:solidFill>
                <a:srgbClr val="03A9F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551042" y="5939015"/>
            <a:ext cx="3066202" cy="510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ши документы проверены. </a:t>
            </a:r>
            <a:b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ерь Вы кандидат на поступление.</a:t>
            </a:r>
            <a:endParaRPr lang="ru-RU" sz="1169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5795896" y="1323887"/>
            <a:ext cx="17741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5795896" y="5236105"/>
            <a:ext cx="17741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6218687" y="3321255"/>
            <a:ext cx="17741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вал 19"/>
          <p:cNvSpPr>
            <a:spLocks noChangeAspect="1"/>
          </p:cNvSpPr>
          <p:nvPr/>
        </p:nvSpPr>
        <p:spPr>
          <a:xfrm>
            <a:off x="1381633" y="670549"/>
            <a:ext cx="1711446" cy="1633907"/>
          </a:xfrm>
          <a:prstGeom prst="ellipse">
            <a:avLst/>
          </a:prstGeom>
          <a:blipFill dpi="0" rotWithShape="1">
            <a:blip r:embed="rId2" cstate="email">
              <a:alphaModFix amt="88000"/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 l="9541" t="1164"/>
            </a:stretch>
          </a:blipFill>
          <a:ln>
            <a:noFill/>
          </a:ln>
          <a:effectLst>
            <a:outerShdw blurRad="254000" dist="127000" dir="24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585854" y="837584"/>
            <a:ext cx="20313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20 </a:t>
            </a:r>
            <a:r>
              <a:rPr lang="ru-RU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я </a:t>
            </a:r>
            <a:r>
              <a:rPr lang="ru-RU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 г.</a:t>
            </a:r>
            <a:endParaRPr lang="ru-RU" dirty="0"/>
          </a:p>
        </p:txBody>
      </p:sp>
      <p:sp>
        <p:nvSpPr>
          <p:cNvPr id="21" name="Rectangle 9"/>
          <p:cNvSpPr/>
          <p:nvPr/>
        </p:nvSpPr>
        <p:spPr>
          <a:xfrm>
            <a:off x="1894114" y="2066066"/>
            <a:ext cx="3875530" cy="1106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ести их в военкомат.</a:t>
            </a:r>
          </a:p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енкомат должен сформировать Ваше учебное дело и направить его почтой </a:t>
            </a:r>
            <a:r>
              <a:rPr lang="ru-RU" sz="1169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адресу: </a:t>
            </a:r>
            <a:br>
              <a:rPr lang="ru-RU" sz="1169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3001</a:t>
            </a:r>
            <a:r>
              <a:rPr lang="ru-RU" sz="1169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г. Москва, ул. Большая Садовая, д.14.</a:t>
            </a:r>
          </a:p>
        </p:txBody>
      </p:sp>
      <p:sp>
        <p:nvSpPr>
          <p:cNvPr id="22" name="Овал 21"/>
          <p:cNvSpPr>
            <a:spLocks noChangeAspect="1"/>
          </p:cNvSpPr>
          <p:nvPr/>
        </p:nvSpPr>
        <p:spPr>
          <a:xfrm>
            <a:off x="9522873" y="2584191"/>
            <a:ext cx="1711446" cy="1633907"/>
          </a:xfrm>
          <a:prstGeom prst="ellipse">
            <a:avLst/>
          </a:prstGeom>
          <a:blipFill dpi="0" rotWithShape="1">
            <a:blip r:embed="rId3" cstate="email">
              <a:alphaModFix amt="88000"/>
              <a:extLst>
                <a:ext uri="{BEBA8EAE-BF5A-486C-A8C5-ECC9F3942E4B}">
                  <a14:imgProps xmlns="" xmlns:a14="http://schemas.microsoft.com/office/drawing/2010/main">
                    <a14:imgLayer r:embed="rId4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 t="165"/>
            </a:stretch>
          </a:blipFill>
          <a:ln>
            <a:noFill/>
          </a:ln>
          <a:effectLst>
            <a:outerShdw blurRad="254000" dist="127000" dir="24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Овал 22"/>
          <p:cNvSpPr>
            <a:spLocks noChangeAspect="1"/>
          </p:cNvSpPr>
          <p:nvPr/>
        </p:nvSpPr>
        <p:spPr>
          <a:xfrm>
            <a:off x="1215379" y="3617492"/>
            <a:ext cx="1711446" cy="1633907"/>
          </a:xfrm>
          <a:prstGeom prst="ellipse">
            <a:avLst/>
          </a:prstGeom>
          <a:blipFill dpi="0" rotWithShape="1">
            <a:blip r:embed="rId5" cstate="email">
              <a:alphaModFix amt="88000"/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 t="165"/>
            </a:stretch>
          </a:blipFill>
          <a:ln>
            <a:noFill/>
          </a:ln>
          <a:effectLst>
            <a:outerShdw blurRad="254000" dist="127000" dir="24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999947" y="5039086"/>
            <a:ext cx="15351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 2020 </a:t>
            </a:r>
            <a:r>
              <a:rPr lang="ru-RU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6777741" y="2932985"/>
            <a:ext cx="27004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ец мая-июнь 2020 </a:t>
            </a:r>
            <a:r>
              <a:rPr lang="ru-RU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99930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25101" y="-1"/>
            <a:ext cx="135654" cy="5650067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8357" tIns="53430" rIns="106859" bIns="53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endParaRPr lang="ru-RU" sz="152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073729" y="943305"/>
            <a:ext cx="3505220" cy="622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быть в учебный центр Военного университета</a:t>
            </a:r>
            <a:endParaRPr lang="ru-RU" sz="1871" dirty="0">
              <a:solidFill>
                <a:srgbClr val="03A9F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5923106" y="1151573"/>
            <a:ext cx="345786" cy="344627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52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52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710744" y="1566001"/>
            <a:ext cx="2770637" cy="1106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адресу: Московская область, пос. Свердловский </a:t>
            </a:r>
            <a:b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дробный маршрут будет указан в приглашении)</a:t>
            </a:r>
          </a:p>
          <a:p>
            <a:pPr algn="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йти медосмотр</a:t>
            </a:r>
            <a:endParaRPr lang="ru-RU" sz="1169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4997" y="2193983"/>
            <a:ext cx="3066202" cy="622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йти вступительные испытания</a:t>
            </a:r>
            <a:endParaRPr lang="ru-RU" sz="1871" dirty="0">
              <a:solidFill>
                <a:srgbClr val="03A9F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694997" y="2849437"/>
            <a:ext cx="3066202" cy="18042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Сдать </a:t>
            </a:r>
            <a:r>
              <a:rPr lang="ru-RU" sz="1169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ихологические тесты</a:t>
            </a:r>
          </a:p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Предоставить </a:t>
            </a:r>
            <a:r>
              <a:rPr lang="ru-RU" sz="1169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сдачи ЕГЭ</a:t>
            </a:r>
          </a:p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Сдать </a:t>
            </a:r>
            <a:r>
              <a:rPr lang="ru-RU" sz="1169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ы по </a:t>
            </a: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й подготовке:</a:t>
            </a:r>
          </a:p>
          <a:p>
            <a:pPr marL="171450" indent="-171450" defTabSz="1069025" fontAlgn="base">
              <a:spcBef>
                <a:spcPts val="400"/>
              </a:spcBef>
              <a:spcAft>
                <a:spcPts val="400"/>
              </a:spcAft>
              <a:buFontTx/>
              <a:buChar char="-"/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г 3000 м</a:t>
            </a:r>
          </a:p>
          <a:p>
            <a:pPr marL="171450" indent="-171450" defTabSz="1069025" fontAlgn="base">
              <a:spcBef>
                <a:spcPts val="400"/>
              </a:spcBef>
              <a:spcAft>
                <a:spcPts val="400"/>
              </a:spcAft>
              <a:buFontTx/>
              <a:buChar char="-"/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г 100 м</a:t>
            </a:r>
          </a:p>
          <a:p>
            <a:pPr marL="171450" indent="-171450" defTabSz="1069025" fontAlgn="base">
              <a:spcBef>
                <a:spcPts val="400"/>
              </a:spcBef>
              <a:spcAft>
                <a:spcPts val="400"/>
              </a:spcAft>
              <a:buFontTx/>
              <a:buChar char="-"/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тягивание</a:t>
            </a:r>
          </a:p>
          <a:p>
            <a:pPr defTabSz="1069025" fontAlgn="base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 Плавание 100 м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5795896" y="1323887"/>
            <a:ext cx="17741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5903059" y="2193983"/>
            <a:ext cx="493044" cy="344627"/>
            <a:chOff x="5903059" y="2193983"/>
            <a:chExt cx="493044" cy="344627"/>
          </a:xfrm>
        </p:grpSpPr>
        <p:sp>
          <p:nvSpPr>
            <p:cNvPr id="8" name="Oval 7"/>
            <p:cNvSpPr/>
            <p:nvPr/>
          </p:nvSpPr>
          <p:spPr>
            <a:xfrm>
              <a:off x="5903059" y="2193983"/>
              <a:ext cx="345786" cy="344627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69025" fontAlgn="base">
                <a:spcBef>
                  <a:spcPts val="701"/>
                </a:spcBef>
                <a:spcAft>
                  <a:spcPts val="701"/>
                </a:spcAft>
                <a:defRPr/>
              </a:pPr>
              <a:r>
                <a:rPr lang="ru-RU" sz="152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ru-RU" sz="152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9" name="Straight Connector 28"/>
            <p:cNvCxnSpPr/>
            <p:nvPr/>
          </p:nvCxnSpPr>
          <p:spPr>
            <a:xfrm>
              <a:off x="6218687" y="2389180"/>
              <a:ext cx="17741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Oval 19"/>
          <p:cNvSpPr/>
          <p:nvPr/>
        </p:nvSpPr>
        <p:spPr>
          <a:xfrm>
            <a:off x="5795897" y="5650066"/>
            <a:ext cx="600206" cy="598195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ИШ</a:t>
            </a:r>
            <a:endParaRPr lang="ru-RU" sz="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78619" y="3904322"/>
            <a:ext cx="4716098" cy="949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йти конкурс и отобраться в ряды </a:t>
            </a:r>
            <a:b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сантов по специальности</a:t>
            </a:r>
            <a:b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71" b="1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Военная журналистика»</a:t>
            </a:r>
            <a:endParaRPr lang="ru-RU" sz="1871" dirty="0">
              <a:solidFill>
                <a:srgbClr val="03A9F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Овал 15"/>
          <p:cNvSpPr>
            <a:spLocks noChangeAspect="1"/>
          </p:cNvSpPr>
          <p:nvPr/>
        </p:nvSpPr>
        <p:spPr>
          <a:xfrm>
            <a:off x="1165502" y="1551698"/>
            <a:ext cx="1711446" cy="1633907"/>
          </a:xfrm>
          <a:prstGeom prst="ellipse">
            <a:avLst/>
          </a:prstGeom>
          <a:blipFill dpi="0" rotWithShape="1">
            <a:blip r:embed="rId2" cstate="email">
              <a:alphaModFix amt="88000"/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 b="835"/>
            </a:stretch>
          </a:blipFill>
          <a:ln>
            <a:noFill/>
          </a:ln>
          <a:effectLst>
            <a:outerShdw blurRad="254000" dist="127000" dir="24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208235" y="651127"/>
            <a:ext cx="23707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чало июля 2020 </a:t>
            </a:r>
            <a:r>
              <a:rPr lang="ru-RU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6714408" y="1824651"/>
            <a:ext cx="22679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- 24 июля 2020 </a:t>
            </a:r>
            <a:r>
              <a:rPr lang="ru-RU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endParaRPr lang="ru-RU" dirty="0"/>
          </a:p>
        </p:txBody>
      </p:sp>
      <p:sp>
        <p:nvSpPr>
          <p:cNvPr id="23" name="Rectangle 9"/>
          <p:cNvSpPr/>
          <p:nvPr/>
        </p:nvSpPr>
        <p:spPr>
          <a:xfrm>
            <a:off x="892754" y="6242643"/>
            <a:ext cx="4181856" cy="5359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68" tIns="126268" rIns="126268" bIns="1262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ts val="701"/>
              </a:spcBef>
              <a:spcAft>
                <a:spcPts val="701"/>
              </a:spcAft>
              <a:defRPr/>
            </a:pPr>
            <a:r>
              <a:rPr lang="ru-RU" sz="1169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числение производится после заседания приемной комиссии приказом начальника Военного университета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63963" y="3534990"/>
            <a:ext cx="21343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1 августа 2020 </a:t>
            </a:r>
            <a:r>
              <a:rPr lang="ru-RU" dirty="0">
                <a:solidFill>
                  <a:srgbClr val="03A9F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endParaRPr lang="ru-RU" dirty="0"/>
          </a:p>
        </p:txBody>
      </p:sp>
      <p:sp>
        <p:nvSpPr>
          <p:cNvPr id="26" name="Овал 25"/>
          <p:cNvSpPr>
            <a:spLocks noChangeAspect="1"/>
          </p:cNvSpPr>
          <p:nvPr/>
        </p:nvSpPr>
        <p:spPr>
          <a:xfrm>
            <a:off x="9088522" y="483032"/>
            <a:ext cx="1711446" cy="1633907"/>
          </a:xfrm>
          <a:prstGeom prst="ellipse">
            <a:avLst/>
          </a:prstGeom>
          <a:blipFill dpi="0" rotWithShape="1">
            <a:blip r:embed="rId3" cstate="email">
              <a:alphaModFix amt="88000"/>
              <a:extLst>
                <a:ext uri="{BEBA8EAE-BF5A-486C-A8C5-ECC9F3942E4B}">
                  <a14:imgProps xmlns="" xmlns:a14="http://schemas.microsoft.com/office/drawing/2010/main">
                    <a14:imgLayer r:embed="rId4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 b="835"/>
            </a:stretch>
          </a:blipFill>
          <a:ln>
            <a:noFill/>
          </a:ln>
          <a:effectLst>
            <a:outerShdw blurRad="254000" dist="127000" dir="24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1218635" y="4853316"/>
            <a:ext cx="3530095" cy="1408892"/>
          </a:xfrm>
          <a:prstGeom prst="ellipse">
            <a:avLst/>
          </a:prstGeom>
          <a:blipFill>
            <a:blip r:embed="rId5" cstate="email">
              <a:extLst>
                <a:ext uri="{BEBA8EAE-BF5A-486C-A8C5-ECC9F3942E4B}">
                  <a14:imgProps xmlns="" xmlns:a14="http://schemas.microsoft.com/office/drawing/2010/main">
                    <a14:imgLayer r:embed="rId6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64948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12842" y="741438"/>
            <a:ext cx="10679158" cy="6832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6859" tIns="53430" rIns="106859" bIns="5343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600" b="1" dirty="0" smtClean="0">
                <a:gradFill>
                  <a:gsLst>
                    <a:gs pos="97000">
                      <a:srgbClr val="00BBD4"/>
                    </a:gs>
                    <a:gs pos="0">
                      <a:srgbClr val="673BB7"/>
                    </a:gs>
                  </a:gsLst>
                  <a:lin ang="480000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 ЧЕГО НАЧНЕТСЯ ОБУЧЕНИЕ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155861" y="114300"/>
            <a:ext cx="11854543" cy="6515100"/>
          </a:xfrm>
          <a:custGeom>
            <a:avLst/>
            <a:gdLst>
              <a:gd name="connsiteX0" fmla="*/ 326572 w 11854543"/>
              <a:gd name="connsiteY0" fmla="*/ 293914 h 6515100"/>
              <a:gd name="connsiteX1" fmla="*/ 326572 w 11854543"/>
              <a:gd name="connsiteY1" fmla="*/ 6237514 h 6515100"/>
              <a:gd name="connsiteX2" fmla="*/ 11576956 w 11854543"/>
              <a:gd name="connsiteY2" fmla="*/ 6237514 h 6515100"/>
              <a:gd name="connsiteX3" fmla="*/ 11576956 w 11854543"/>
              <a:gd name="connsiteY3" fmla="*/ 293914 h 6515100"/>
              <a:gd name="connsiteX4" fmla="*/ 0 w 11854543"/>
              <a:gd name="connsiteY4" fmla="*/ 0 h 6515100"/>
              <a:gd name="connsiteX5" fmla="*/ 11854543 w 11854543"/>
              <a:gd name="connsiteY5" fmla="*/ 0 h 6515100"/>
              <a:gd name="connsiteX6" fmla="*/ 11854543 w 11854543"/>
              <a:gd name="connsiteY6" fmla="*/ 6515100 h 6515100"/>
              <a:gd name="connsiteX7" fmla="*/ 0 w 11854543"/>
              <a:gd name="connsiteY7" fmla="*/ 6515100 h 651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54543" h="6515100">
                <a:moveTo>
                  <a:pt x="326572" y="293914"/>
                </a:moveTo>
                <a:lnTo>
                  <a:pt x="326572" y="6237514"/>
                </a:lnTo>
                <a:lnTo>
                  <a:pt x="11576956" y="6237514"/>
                </a:lnTo>
                <a:lnTo>
                  <a:pt x="11576956" y="293914"/>
                </a:lnTo>
                <a:close/>
                <a:moveTo>
                  <a:pt x="0" y="0"/>
                </a:moveTo>
                <a:lnTo>
                  <a:pt x="11854543" y="0"/>
                </a:lnTo>
                <a:lnTo>
                  <a:pt x="11854543" y="6515100"/>
                </a:lnTo>
                <a:lnTo>
                  <a:pt x="0" y="6515100"/>
                </a:lnTo>
                <a:close/>
              </a:path>
            </a:pathLst>
          </a:custGeom>
          <a:gradFill>
            <a:gsLst>
              <a:gs pos="97000">
                <a:srgbClr val="9C28B1"/>
              </a:gs>
              <a:gs pos="0">
                <a:srgbClr val="E91D6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089419" y="1649186"/>
            <a:ext cx="10123715" cy="4286095"/>
          </a:xfrm>
          <a:prstGeom prst="rect">
            <a:avLst/>
          </a:prstGeom>
          <a:gradFill>
            <a:gsLst>
              <a:gs pos="45942">
                <a:srgbClr val="C32289"/>
              </a:gs>
              <a:gs pos="93000">
                <a:srgbClr val="9C28B1"/>
              </a:gs>
              <a:gs pos="0">
                <a:srgbClr val="E91D6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0000"/>
            <a:r>
              <a:rPr lang="ru-RU" sz="2400" b="1" dirty="0"/>
              <a:t> </a:t>
            </a:r>
            <a:r>
              <a:rPr lang="ru-RU" sz="2400" b="1" dirty="0" err="1">
                <a:solidFill>
                  <a:schemeClr val="accent6">
                    <a:lumMod val="40000"/>
                    <a:lumOff val="60000"/>
                  </a:schemeClr>
                </a:solidFill>
              </a:rPr>
              <a:t>Общевоенная</a:t>
            </a:r>
            <a:r>
              <a:rPr lang="ru-RU" sz="24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 подготовка - курс молодого бойца (КМБ</a:t>
            </a:r>
            <a:r>
              <a:rPr lang="ru-RU" sz="2400" b="1" dirty="0" smtClean="0">
                <a:solidFill>
                  <a:schemeClr val="accent6">
                    <a:lumMod val="40000"/>
                    <a:lumOff val="60000"/>
                  </a:schemeClr>
                </a:solidFill>
              </a:rPr>
              <a:t>)</a:t>
            </a:r>
            <a:endParaRPr lang="ru-RU" sz="2400" b="1" dirty="0">
              <a:solidFill>
                <a:schemeClr val="accent6">
                  <a:lumMod val="40000"/>
                  <a:lumOff val="60000"/>
                </a:schemeClr>
              </a:solidFill>
            </a:endParaRPr>
          </a:p>
          <a:p>
            <a:pPr marL="540000"/>
            <a:r>
              <a:rPr lang="ru-RU" sz="2400" i="1" dirty="0"/>
              <a:t> </a:t>
            </a:r>
          </a:p>
          <a:p>
            <a:pPr marL="540000"/>
            <a:r>
              <a:rPr lang="ru-RU" sz="2400" i="1" dirty="0"/>
              <a:t>  В течении 1 мес. </a:t>
            </a:r>
            <a:r>
              <a:rPr lang="ru-RU" sz="2400" i="1" dirty="0" smtClean="0"/>
              <a:t>(август) вас </a:t>
            </a:r>
            <a:r>
              <a:rPr lang="ru-RU" sz="2400" i="1" dirty="0"/>
              <a:t>ожидает</a:t>
            </a:r>
            <a:r>
              <a:rPr lang="ru-RU" sz="2400" i="1" dirty="0" smtClean="0"/>
              <a:t>:</a:t>
            </a:r>
          </a:p>
          <a:p>
            <a:pPr marL="540000"/>
            <a:r>
              <a:rPr lang="ru-RU" sz="2400" i="1" dirty="0" smtClean="0"/>
              <a:t> </a:t>
            </a:r>
            <a:endParaRPr lang="ru-RU" sz="2400" i="1" dirty="0"/>
          </a:p>
          <a:p>
            <a:pPr marL="54000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жизнь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полевом лагере по армейскому образцу (пос. Свердловский, Московская обл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pPr marL="540000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знакомств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 основными образцами оружия, стоящего на вооружении ВС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Ф</a:t>
            </a:r>
          </a:p>
          <a:p>
            <a:pPr marL="540000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веселительны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ероприятия, спортивные занятия 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гры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reeform 439"/>
          <p:cNvSpPr>
            <a:spLocks noEditPoints="1"/>
          </p:cNvSpPr>
          <p:nvPr/>
        </p:nvSpPr>
        <p:spPr bwMode="auto">
          <a:xfrm rot="1181580">
            <a:off x="8278811" y="-735322"/>
            <a:ext cx="4320000" cy="4320000"/>
          </a:xfrm>
          <a:custGeom>
            <a:avLst/>
            <a:gdLst>
              <a:gd name="T0" fmla="*/ 40 w 42"/>
              <a:gd name="T1" fmla="*/ 25 h 45"/>
              <a:gd name="T2" fmla="*/ 40 w 42"/>
              <a:gd name="T3" fmla="*/ 27 h 45"/>
              <a:gd name="T4" fmla="*/ 39 w 42"/>
              <a:gd name="T5" fmla="*/ 31 h 45"/>
              <a:gd name="T6" fmla="*/ 40 w 42"/>
              <a:gd name="T7" fmla="*/ 32 h 45"/>
              <a:gd name="T8" fmla="*/ 38 w 42"/>
              <a:gd name="T9" fmla="*/ 37 h 45"/>
              <a:gd name="T10" fmla="*/ 30 w 42"/>
              <a:gd name="T11" fmla="*/ 45 h 45"/>
              <a:gd name="T12" fmla="*/ 29 w 42"/>
              <a:gd name="T13" fmla="*/ 45 h 45"/>
              <a:gd name="T14" fmla="*/ 26 w 42"/>
              <a:gd name="T15" fmla="*/ 45 h 45"/>
              <a:gd name="T16" fmla="*/ 15 w 42"/>
              <a:gd name="T17" fmla="*/ 42 h 45"/>
              <a:gd name="T18" fmla="*/ 12 w 42"/>
              <a:gd name="T19" fmla="*/ 41 h 45"/>
              <a:gd name="T20" fmla="*/ 4 w 42"/>
              <a:gd name="T21" fmla="*/ 41 h 45"/>
              <a:gd name="T22" fmla="*/ 0 w 42"/>
              <a:gd name="T23" fmla="*/ 38 h 45"/>
              <a:gd name="T24" fmla="*/ 0 w 42"/>
              <a:gd name="T25" fmla="*/ 21 h 45"/>
              <a:gd name="T26" fmla="*/ 4 w 42"/>
              <a:gd name="T27" fmla="*/ 17 h 45"/>
              <a:gd name="T28" fmla="*/ 11 w 42"/>
              <a:gd name="T29" fmla="*/ 17 h 45"/>
              <a:gd name="T30" fmla="*/ 15 w 42"/>
              <a:gd name="T31" fmla="*/ 13 h 45"/>
              <a:gd name="T32" fmla="*/ 18 w 42"/>
              <a:gd name="T33" fmla="*/ 10 h 45"/>
              <a:gd name="T34" fmla="*/ 21 w 42"/>
              <a:gd name="T35" fmla="*/ 1 h 45"/>
              <a:gd name="T36" fmla="*/ 24 w 42"/>
              <a:gd name="T37" fmla="*/ 0 h 45"/>
              <a:gd name="T38" fmla="*/ 30 w 42"/>
              <a:gd name="T39" fmla="*/ 4 h 45"/>
              <a:gd name="T40" fmla="*/ 31 w 42"/>
              <a:gd name="T41" fmla="*/ 9 h 45"/>
              <a:gd name="T42" fmla="*/ 30 w 42"/>
              <a:gd name="T43" fmla="*/ 14 h 45"/>
              <a:gd name="T44" fmla="*/ 35 w 42"/>
              <a:gd name="T45" fmla="*/ 14 h 45"/>
              <a:gd name="T46" fmla="*/ 42 w 42"/>
              <a:gd name="T47" fmla="*/ 21 h 45"/>
              <a:gd name="T48" fmla="*/ 40 w 42"/>
              <a:gd name="T49" fmla="*/ 25 h 45"/>
              <a:gd name="T50" fmla="*/ 6 w 42"/>
              <a:gd name="T51" fmla="*/ 34 h 45"/>
              <a:gd name="T52" fmla="*/ 4 w 42"/>
              <a:gd name="T53" fmla="*/ 36 h 45"/>
              <a:gd name="T54" fmla="*/ 6 w 42"/>
              <a:gd name="T55" fmla="*/ 38 h 45"/>
              <a:gd name="T56" fmla="*/ 7 w 42"/>
              <a:gd name="T57" fmla="*/ 36 h 45"/>
              <a:gd name="T58" fmla="*/ 6 w 42"/>
              <a:gd name="T59" fmla="*/ 34 h 45"/>
              <a:gd name="T60" fmla="*/ 35 w 42"/>
              <a:gd name="T61" fmla="*/ 17 h 45"/>
              <a:gd name="T62" fmla="*/ 25 w 42"/>
              <a:gd name="T63" fmla="*/ 17 h 45"/>
              <a:gd name="T64" fmla="*/ 28 w 42"/>
              <a:gd name="T65" fmla="*/ 9 h 45"/>
              <a:gd name="T66" fmla="*/ 24 w 42"/>
              <a:gd name="T67" fmla="*/ 3 h 45"/>
              <a:gd name="T68" fmla="*/ 20 w 42"/>
              <a:gd name="T69" fmla="*/ 12 h 45"/>
              <a:gd name="T70" fmla="*/ 18 w 42"/>
              <a:gd name="T71" fmla="*/ 14 h 45"/>
              <a:gd name="T72" fmla="*/ 12 w 42"/>
              <a:gd name="T73" fmla="*/ 21 h 45"/>
              <a:gd name="T74" fmla="*/ 11 w 42"/>
              <a:gd name="T75" fmla="*/ 21 h 45"/>
              <a:gd name="T76" fmla="*/ 11 w 42"/>
              <a:gd name="T77" fmla="*/ 38 h 45"/>
              <a:gd name="T78" fmla="*/ 12 w 42"/>
              <a:gd name="T79" fmla="*/ 38 h 45"/>
              <a:gd name="T80" fmla="*/ 17 w 42"/>
              <a:gd name="T81" fmla="*/ 39 h 45"/>
              <a:gd name="T82" fmla="*/ 26 w 42"/>
              <a:gd name="T83" fmla="*/ 41 h 45"/>
              <a:gd name="T84" fmla="*/ 29 w 42"/>
              <a:gd name="T85" fmla="*/ 41 h 45"/>
              <a:gd name="T86" fmla="*/ 35 w 42"/>
              <a:gd name="T87" fmla="*/ 37 h 45"/>
              <a:gd name="T88" fmla="*/ 34 w 42"/>
              <a:gd name="T89" fmla="*/ 35 h 45"/>
              <a:gd name="T90" fmla="*/ 36 w 42"/>
              <a:gd name="T91" fmla="*/ 32 h 45"/>
              <a:gd name="T92" fmla="*/ 36 w 42"/>
              <a:gd name="T93" fmla="*/ 30 h 45"/>
              <a:gd name="T94" fmla="*/ 37 w 42"/>
              <a:gd name="T95" fmla="*/ 27 h 45"/>
              <a:gd name="T96" fmla="*/ 36 w 42"/>
              <a:gd name="T97" fmla="*/ 24 h 45"/>
              <a:gd name="T98" fmla="*/ 38 w 42"/>
              <a:gd name="T99" fmla="*/ 21 h 45"/>
              <a:gd name="T100" fmla="*/ 35 w 42"/>
              <a:gd name="T101" fmla="*/ 17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2" h="45">
                <a:moveTo>
                  <a:pt x="40" y="25"/>
                </a:moveTo>
                <a:cubicBezTo>
                  <a:pt x="40" y="26"/>
                  <a:pt x="40" y="26"/>
                  <a:pt x="40" y="27"/>
                </a:cubicBezTo>
                <a:cubicBezTo>
                  <a:pt x="40" y="28"/>
                  <a:pt x="40" y="29"/>
                  <a:pt x="39" y="31"/>
                </a:cubicBezTo>
                <a:cubicBezTo>
                  <a:pt x="40" y="31"/>
                  <a:pt x="40" y="31"/>
                  <a:pt x="40" y="32"/>
                </a:cubicBezTo>
                <a:cubicBezTo>
                  <a:pt x="40" y="34"/>
                  <a:pt x="39" y="35"/>
                  <a:pt x="38" y="37"/>
                </a:cubicBezTo>
                <a:cubicBezTo>
                  <a:pt x="38" y="42"/>
                  <a:pt x="35" y="45"/>
                  <a:pt x="30" y="45"/>
                </a:cubicBezTo>
                <a:cubicBezTo>
                  <a:pt x="29" y="45"/>
                  <a:pt x="29" y="45"/>
                  <a:pt x="29" y="45"/>
                </a:cubicBezTo>
                <a:cubicBezTo>
                  <a:pt x="26" y="45"/>
                  <a:pt x="26" y="45"/>
                  <a:pt x="26" y="45"/>
                </a:cubicBezTo>
                <a:cubicBezTo>
                  <a:pt x="22" y="45"/>
                  <a:pt x="19" y="44"/>
                  <a:pt x="15" y="42"/>
                </a:cubicBezTo>
                <a:cubicBezTo>
                  <a:pt x="14" y="42"/>
                  <a:pt x="12" y="41"/>
                  <a:pt x="12" y="41"/>
                </a:cubicBezTo>
                <a:cubicBezTo>
                  <a:pt x="4" y="41"/>
                  <a:pt x="4" y="41"/>
                  <a:pt x="4" y="41"/>
                </a:cubicBezTo>
                <a:cubicBezTo>
                  <a:pt x="2" y="41"/>
                  <a:pt x="0" y="40"/>
                  <a:pt x="0" y="38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9"/>
                  <a:pt x="2" y="17"/>
                  <a:pt x="4" y="17"/>
                </a:cubicBezTo>
                <a:cubicBezTo>
                  <a:pt x="11" y="17"/>
                  <a:pt x="11" y="17"/>
                  <a:pt x="11" y="17"/>
                </a:cubicBezTo>
                <a:cubicBezTo>
                  <a:pt x="12" y="16"/>
                  <a:pt x="14" y="14"/>
                  <a:pt x="15" y="13"/>
                </a:cubicBezTo>
                <a:cubicBezTo>
                  <a:pt x="16" y="12"/>
                  <a:pt x="17" y="11"/>
                  <a:pt x="18" y="10"/>
                </a:cubicBezTo>
                <a:cubicBezTo>
                  <a:pt x="19" y="8"/>
                  <a:pt x="18" y="4"/>
                  <a:pt x="21" y="1"/>
                </a:cubicBezTo>
                <a:cubicBezTo>
                  <a:pt x="22" y="0"/>
                  <a:pt x="23" y="0"/>
                  <a:pt x="24" y="0"/>
                </a:cubicBezTo>
                <a:cubicBezTo>
                  <a:pt x="26" y="0"/>
                  <a:pt x="29" y="1"/>
                  <a:pt x="30" y="4"/>
                </a:cubicBezTo>
                <a:cubicBezTo>
                  <a:pt x="31" y="5"/>
                  <a:pt x="31" y="7"/>
                  <a:pt x="31" y="9"/>
                </a:cubicBezTo>
                <a:cubicBezTo>
                  <a:pt x="31" y="10"/>
                  <a:pt x="31" y="12"/>
                  <a:pt x="30" y="14"/>
                </a:cubicBezTo>
                <a:cubicBezTo>
                  <a:pt x="35" y="14"/>
                  <a:pt x="35" y="14"/>
                  <a:pt x="35" y="14"/>
                </a:cubicBezTo>
                <a:cubicBezTo>
                  <a:pt x="38" y="14"/>
                  <a:pt x="42" y="17"/>
                  <a:pt x="42" y="21"/>
                </a:cubicBezTo>
                <a:cubicBezTo>
                  <a:pt x="42" y="22"/>
                  <a:pt x="41" y="24"/>
                  <a:pt x="40" y="25"/>
                </a:cubicBezTo>
                <a:close/>
                <a:moveTo>
                  <a:pt x="6" y="34"/>
                </a:moveTo>
                <a:cubicBezTo>
                  <a:pt x="5" y="34"/>
                  <a:pt x="4" y="35"/>
                  <a:pt x="4" y="36"/>
                </a:cubicBezTo>
                <a:cubicBezTo>
                  <a:pt x="4" y="37"/>
                  <a:pt x="5" y="38"/>
                  <a:pt x="6" y="38"/>
                </a:cubicBezTo>
                <a:cubicBezTo>
                  <a:pt x="6" y="38"/>
                  <a:pt x="7" y="37"/>
                  <a:pt x="7" y="36"/>
                </a:cubicBezTo>
                <a:cubicBezTo>
                  <a:pt x="7" y="35"/>
                  <a:pt x="6" y="34"/>
                  <a:pt x="6" y="34"/>
                </a:cubicBezTo>
                <a:close/>
                <a:moveTo>
                  <a:pt x="35" y="17"/>
                </a:moveTo>
                <a:cubicBezTo>
                  <a:pt x="25" y="17"/>
                  <a:pt x="25" y="17"/>
                  <a:pt x="25" y="17"/>
                </a:cubicBezTo>
                <a:cubicBezTo>
                  <a:pt x="25" y="14"/>
                  <a:pt x="28" y="12"/>
                  <a:pt x="28" y="9"/>
                </a:cubicBezTo>
                <a:cubicBezTo>
                  <a:pt x="28" y="5"/>
                  <a:pt x="27" y="3"/>
                  <a:pt x="24" y="3"/>
                </a:cubicBezTo>
                <a:cubicBezTo>
                  <a:pt x="22" y="5"/>
                  <a:pt x="23" y="9"/>
                  <a:pt x="20" y="12"/>
                </a:cubicBezTo>
                <a:cubicBezTo>
                  <a:pt x="19" y="13"/>
                  <a:pt x="19" y="14"/>
                  <a:pt x="18" y="14"/>
                </a:cubicBezTo>
                <a:cubicBezTo>
                  <a:pt x="17" y="16"/>
                  <a:pt x="14" y="21"/>
                  <a:pt x="12" y="21"/>
                </a:cubicBezTo>
                <a:cubicBezTo>
                  <a:pt x="11" y="21"/>
                  <a:pt x="11" y="21"/>
                  <a:pt x="11" y="21"/>
                </a:cubicBezTo>
                <a:cubicBezTo>
                  <a:pt x="11" y="38"/>
                  <a:pt x="11" y="38"/>
                  <a:pt x="11" y="38"/>
                </a:cubicBezTo>
                <a:cubicBezTo>
                  <a:pt x="12" y="38"/>
                  <a:pt x="12" y="38"/>
                  <a:pt x="12" y="38"/>
                </a:cubicBezTo>
                <a:cubicBezTo>
                  <a:pt x="13" y="38"/>
                  <a:pt x="16" y="39"/>
                  <a:pt x="17" y="39"/>
                </a:cubicBezTo>
                <a:cubicBezTo>
                  <a:pt x="20" y="40"/>
                  <a:pt x="23" y="41"/>
                  <a:pt x="26" y="41"/>
                </a:cubicBezTo>
                <a:cubicBezTo>
                  <a:pt x="29" y="41"/>
                  <a:pt x="29" y="41"/>
                  <a:pt x="29" y="41"/>
                </a:cubicBezTo>
                <a:cubicBezTo>
                  <a:pt x="32" y="41"/>
                  <a:pt x="35" y="40"/>
                  <a:pt x="35" y="37"/>
                </a:cubicBezTo>
                <a:cubicBezTo>
                  <a:pt x="35" y="36"/>
                  <a:pt x="34" y="36"/>
                  <a:pt x="34" y="35"/>
                </a:cubicBezTo>
                <a:cubicBezTo>
                  <a:pt x="36" y="35"/>
                  <a:pt x="36" y="33"/>
                  <a:pt x="36" y="32"/>
                </a:cubicBezTo>
                <a:cubicBezTo>
                  <a:pt x="36" y="31"/>
                  <a:pt x="36" y="31"/>
                  <a:pt x="36" y="30"/>
                </a:cubicBezTo>
                <a:cubicBezTo>
                  <a:pt x="37" y="29"/>
                  <a:pt x="37" y="28"/>
                  <a:pt x="37" y="27"/>
                </a:cubicBezTo>
                <a:cubicBezTo>
                  <a:pt x="37" y="26"/>
                  <a:pt x="37" y="25"/>
                  <a:pt x="36" y="24"/>
                </a:cubicBezTo>
                <a:cubicBezTo>
                  <a:pt x="37" y="24"/>
                  <a:pt x="38" y="22"/>
                  <a:pt x="38" y="21"/>
                </a:cubicBezTo>
                <a:cubicBezTo>
                  <a:pt x="38" y="19"/>
                  <a:pt x="36" y="17"/>
                  <a:pt x="35" y="17"/>
                </a:cubicBezTo>
                <a:close/>
              </a:path>
            </a:pathLst>
          </a:custGeom>
          <a:solidFill>
            <a:srgbClr val="1A237E">
              <a:alpha val="34000"/>
            </a:srgbClr>
          </a:solidFill>
          <a:ln>
            <a:noFill/>
          </a:ln>
          <a:extLst/>
        </p:spPr>
        <p:txBody>
          <a:bodyPr vert="horz" wrap="square" lIns="104235" tIns="52118" rIns="104235" bIns="52118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" name="Freeform 439"/>
          <p:cNvSpPr>
            <a:spLocks noEditPoints="1"/>
          </p:cNvSpPr>
          <p:nvPr/>
        </p:nvSpPr>
        <p:spPr bwMode="auto">
          <a:xfrm rot="1181580">
            <a:off x="-2260531" y="2692668"/>
            <a:ext cx="4320000" cy="4320000"/>
          </a:xfrm>
          <a:custGeom>
            <a:avLst/>
            <a:gdLst>
              <a:gd name="T0" fmla="*/ 40 w 42"/>
              <a:gd name="T1" fmla="*/ 25 h 45"/>
              <a:gd name="T2" fmla="*/ 40 w 42"/>
              <a:gd name="T3" fmla="*/ 27 h 45"/>
              <a:gd name="T4" fmla="*/ 39 w 42"/>
              <a:gd name="T5" fmla="*/ 31 h 45"/>
              <a:gd name="T6" fmla="*/ 40 w 42"/>
              <a:gd name="T7" fmla="*/ 32 h 45"/>
              <a:gd name="T8" fmla="*/ 38 w 42"/>
              <a:gd name="T9" fmla="*/ 37 h 45"/>
              <a:gd name="T10" fmla="*/ 30 w 42"/>
              <a:gd name="T11" fmla="*/ 45 h 45"/>
              <a:gd name="T12" fmla="*/ 29 w 42"/>
              <a:gd name="T13" fmla="*/ 45 h 45"/>
              <a:gd name="T14" fmla="*/ 26 w 42"/>
              <a:gd name="T15" fmla="*/ 45 h 45"/>
              <a:gd name="T16" fmla="*/ 15 w 42"/>
              <a:gd name="T17" fmla="*/ 42 h 45"/>
              <a:gd name="T18" fmla="*/ 12 w 42"/>
              <a:gd name="T19" fmla="*/ 41 h 45"/>
              <a:gd name="T20" fmla="*/ 4 w 42"/>
              <a:gd name="T21" fmla="*/ 41 h 45"/>
              <a:gd name="T22" fmla="*/ 0 w 42"/>
              <a:gd name="T23" fmla="*/ 38 h 45"/>
              <a:gd name="T24" fmla="*/ 0 w 42"/>
              <a:gd name="T25" fmla="*/ 21 h 45"/>
              <a:gd name="T26" fmla="*/ 4 w 42"/>
              <a:gd name="T27" fmla="*/ 17 h 45"/>
              <a:gd name="T28" fmla="*/ 11 w 42"/>
              <a:gd name="T29" fmla="*/ 17 h 45"/>
              <a:gd name="T30" fmla="*/ 15 w 42"/>
              <a:gd name="T31" fmla="*/ 13 h 45"/>
              <a:gd name="T32" fmla="*/ 18 w 42"/>
              <a:gd name="T33" fmla="*/ 10 h 45"/>
              <a:gd name="T34" fmla="*/ 21 w 42"/>
              <a:gd name="T35" fmla="*/ 1 h 45"/>
              <a:gd name="T36" fmla="*/ 24 w 42"/>
              <a:gd name="T37" fmla="*/ 0 h 45"/>
              <a:gd name="T38" fmla="*/ 30 w 42"/>
              <a:gd name="T39" fmla="*/ 4 h 45"/>
              <a:gd name="T40" fmla="*/ 31 w 42"/>
              <a:gd name="T41" fmla="*/ 9 h 45"/>
              <a:gd name="T42" fmla="*/ 30 w 42"/>
              <a:gd name="T43" fmla="*/ 14 h 45"/>
              <a:gd name="T44" fmla="*/ 35 w 42"/>
              <a:gd name="T45" fmla="*/ 14 h 45"/>
              <a:gd name="T46" fmla="*/ 42 w 42"/>
              <a:gd name="T47" fmla="*/ 21 h 45"/>
              <a:gd name="T48" fmla="*/ 40 w 42"/>
              <a:gd name="T49" fmla="*/ 25 h 45"/>
              <a:gd name="T50" fmla="*/ 6 w 42"/>
              <a:gd name="T51" fmla="*/ 34 h 45"/>
              <a:gd name="T52" fmla="*/ 4 w 42"/>
              <a:gd name="T53" fmla="*/ 36 h 45"/>
              <a:gd name="T54" fmla="*/ 6 w 42"/>
              <a:gd name="T55" fmla="*/ 38 h 45"/>
              <a:gd name="T56" fmla="*/ 7 w 42"/>
              <a:gd name="T57" fmla="*/ 36 h 45"/>
              <a:gd name="T58" fmla="*/ 6 w 42"/>
              <a:gd name="T59" fmla="*/ 34 h 45"/>
              <a:gd name="T60" fmla="*/ 35 w 42"/>
              <a:gd name="T61" fmla="*/ 17 h 45"/>
              <a:gd name="T62" fmla="*/ 25 w 42"/>
              <a:gd name="T63" fmla="*/ 17 h 45"/>
              <a:gd name="T64" fmla="*/ 28 w 42"/>
              <a:gd name="T65" fmla="*/ 9 h 45"/>
              <a:gd name="T66" fmla="*/ 24 w 42"/>
              <a:gd name="T67" fmla="*/ 3 h 45"/>
              <a:gd name="T68" fmla="*/ 20 w 42"/>
              <a:gd name="T69" fmla="*/ 12 h 45"/>
              <a:gd name="T70" fmla="*/ 18 w 42"/>
              <a:gd name="T71" fmla="*/ 14 h 45"/>
              <a:gd name="T72" fmla="*/ 12 w 42"/>
              <a:gd name="T73" fmla="*/ 21 h 45"/>
              <a:gd name="T74" fmla="*/ 11 w 42"/>
              <a:gd name="T75" fmla="*/ 21 h 45"/>
              <a:gd name="T76" fmla="*/ 11 w 42"/>
              <a:gd name="T77" fmla="*/ 38 h 45"/>
              <a:gd name="T78" fmla="*/ 12 w 42"/>
              <a:gd name="T79" fmla="*/ 38 h 45"/>
              <a:gd name="T80" fmla="*/ 17 w 42"/>
              <a:gd name="T81" fmla="*/ 39 h 45"/>
              <a:gd name="T82" fmla="*/ 26 w 42"/>
              <a:gd name="T83" fmla="*/ 41 h 45"/>
              <a:gd name="T84" fmla="*/ 29 w 42"/>
              <a:gd name="T85" fmla="*/ 41 h 45"/>
              <a:gd name="T86" fmla="*/ 35 w 42"/>
              <a:gd name="T87" fmla="*/ 37 h 45"/>
              <a:gd name="T88" fmla="*/ 34 w 42"/>
              <a:gd name="T89" fmla="*/ 35 h 45"/>
              <a:gd name="T90" fmla="*/ 36 w 42"/>
              <a:gd name="T91" fmla="*/ 32 h 45"/>
              <a:gd name="T92" fmla="*/ 36 w 42"/>
              <a:gd name="T93" fmla="*/ 30 h 45"/>
              <a:gd name="T94" fmla="*/ 37 w 42"/>
              <a:gd name="T95" fmla="*/ 27 h 45"/>
              <a:gd name="T96" fmla="*/ 36 w 42"/>
              <a:gd name="T97" fmla="*/ 24 h 45"/>
              <a:gd name="T98" fmla="*/ 38 w 42"/>
              <a:gd name="T99" fmla="*/ 21 h 45"/>
              <a:gd name="T100" fmla="*/ 35 w 42"/>
              <a:gd name="T101" fmla="*/ 17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2" h="45">
                <a:moveTo>
                  <a:pt x="40" y="25"/>
                </a:moveTo>
                <a:cubicBezTo>
                  <a:pt x="40" y="26"/>
                  <a:pt x="40" y="26"/>
                  <a:pt x="40" y="27"/>
                </a:cubicBezTo>
                <a:cubicBezTo>
                  <a:pt x="40" y="28"/>
                  <a:pt x="40" y="29"/>
                  <a:pt x="39" y="31"/>
                </a:cubicBezTo>
                <a:cubicBezTo>
                  <a:pt x="40" y="31"/>
                  <a:pt x="40" y="31"/>
                  <a:pt x="40" y="32"/>
                </a:cubicBezTo>
                <a:cubicBezTo>
                  <a:pt x="40" y="34"/>
                  <a:pt x="39" y="35"/>
                  <a:pt x="38" y="37"/>
                </a:cubicBezTo>
                <a:cubicBezTo>
                  <a:pt x="38" y="42"/>
                  <a:pt x="35" y="45"/>
                  <a:pt x="30" y="45"/>
                </a:cubicBezTo>
                <a:cubicBezTo>
                  <a:pt x="29" y="45"/>
                  <a:pt x="29" y="45"/>
                  <a:pt x="29" y="45"/>
                </a:cubicBezTo>
                <a:cubicBezTo>
                  <a:pt x="26" y="45"/>
                  <a:pt x="26" y="45"/>
                  <a:pt x="26" y="45"/>
                </a:cubicBezTo>
                <a:cubicBezTo>
                  <a:pt x="22" y="45"/>
                  <a:pt x="19" y="44"/>
                  <a:pt x="15" y="42"/>
                </a:cubicBezTo>
                <a:cubicBezTo>
                  <a:pt x="14" y="42"/>
                  <a:pt x="12" y="41"/>
                  <a:pt x="12" y="41"/>
                </a:cubicBezTo>
                <a:cubicBezTo>
                  <a:pt x="4" y="41"/>
                  <a:pt x="4" y="41"/>
                  <a:pt x="4" y="41"/>
                </a:cubicBezTo>
                <a:cubicBezTo>
                  <a:pt x="2" y="41"/>
                  <a:pt x="0" y="40"/>
                  <a:pt x="0" y="38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9"/>
                  <a:pt x="2" y="17"/>
                  <a:pt x="4" y="17"/>
                </a:cubicBezTo>
                <a:cubicBezTo>
                  <a:pt x="11" y="17"/>
                  <a:pt x="11" y="17"/>
                  <a:pt x="11" y="17"/>
                </a:cubicBezTo>
                <a:cubicBezTo>
                  <a:pt x="12" y="16"/>
                  <a:pt x="14" y="14"/>
                  <a:pt x="15" y="13"/>
                </a:cubicBezTo>
                <a:cubicBezTo>
                  <a:pt x="16" y="12"/>
                  <a:pt x="17" y="11"/>
                  <a:pt x="18" y="10"/>
                </a:cubicBezTo>
                <a:cubicBezTo>
                  <a:pt x="19" y="8"/>
                  <a:pt x="18" y="4"/>
                  <a:pt x="21" y="1"/>
                </a:cubicBezTo>
                <a:cubicBezTo>
                  <a:pt x="22" y="0"/>
                  <a:pt x="23" y="0"/>
                  <a:pt x="24" y="0"/>
                </a:cubicBezTo>
                <a:cubicBezTo>
                  <a:pt x="26" y="0"/>
                  <a:pt x="29" y="1"/>
                  <a:pt x="30" y="4"/>
                </a:cubicBezTo>
                <a:cubicBezTo>
                  <a:pt x="31" y="5"/>
                  <a:pt x="31" y="7"/>
                  <a:pt x="31" y="9"/>
                </a:cubicBezTo>
                <a:cubicBezTo>
                  <a:pt x="31" y="10"/>
                  <a:pt x="31" y="12"/>
                  <a:pt x="30" y="14"/>
                </a:cubicBezTo>
                <a:cubicBezTo>
                  <a:pt x="35" y="14"/>
                  <a:pt x="35" y="14"/>
                  <a:pt x="35" y="14"/>
                </a:cubicBezTo>
                <a:cubicBezTo>
                  <a:pt x="38" y="14"/>
                  <a:pt x="42" y="17"/>
                  <a:pt x="42" y="21"/>
                </a:cubicBezTo>
                <a:cubicBezTo>
                  <a:pt x="42" y="22"/>
                  <a:pt x="41" y="24"/>
                  <a:pt x="40" y="25"/>
                </a:cubicBezTo>
                <a:close/>
                <a:moveTo>
                  <a:pt x="6" y="34"/>
                </a:moveTo>
                <a:cubicBezTo>
                  <a:pt x="5" y="34"/>
                  <a:pt x="4" y="35"/>
                  <a:pt x="4" y="36"/>
                </a:cubicBezTo>
                <a:cubicBezTo>
                  <a:pt x="4" y="37"/>
                  <a:pt x="5" y="38"/>
                  <a:pt x="6" y="38"/>
                </a:cubicBezTo>
                <a:cubicBezTo>
                  <a:pt x="6" y="38"/>
                  <a:pt x="7" y="37"/>
                  <a:pt x="7" y="36"/>
                </a:cubicBezTo>
                <a:cubicBezTo>
                  <a:pt x="7" y="35"/>
                  <a:pt x="6" y="34"/>
                  <a:pt x="6" y="34"/>
                </a:cubicBezTo>
                <a:close/>
                <a:moveTo>
                  <a:pt x="35" y="17"/>
                </a:moveTo>
                <a:cubicBezTo>
                  <a:pt x="25" y="17"/>
                  <a:pt x="25" y="17"/>
                  <a:pt x="25" y="17"/>
                </a:cubicBezTo>
                <a:cubicBezTo>
                  <a:pt x="25" y="14"/>
                  <a:pt x="28" y="12"/>
                  <a:pt x="28" y="9"/>
                </a:cubicBezTo>
                <a:cubicBezTo>
                  <a:pt x="28" y="5"/>
                  <a:pt x="27" y="3"/>
                  <a:pt x="24" y="3"/>
                </a:cubicBezTo>
                <a:cubicBezTo>
                  <a:pt x="22" y="5"/>
                  <a:pt x="23" y="9"/>
                  <a:pt x="20" y="12"/>
                </a:cubicBezTo>
                <a:cubicBezTo>
                  <a:pt x="19" y="13"/>
                  <a:pt x="19" y="14"/>
                  <a:pt x="18" y="14"/>
                </a:cubicBezTo>
                <a:cubicBezTo>
                  <a:pt x="17" y="16"/>
                  <a:pt x="14" y="21"/>
                  <a:pt x="12" y="21"/>
                </a:cubicBezTo>
                <a:cubicBezTo>
                  <a:pt x="11" y="21"/>
                  <a:pt x="11" y="21"/>
                  <a:pt x="11" y="21"/>
                </a:cubicBezTo>
                <a:cubicBezTo>
                  <a:pt x="11" y="38"/>
                  <a:pt x="11" y="38"/>
                  <a:pt x="11" y="38"/>
                </a:cubicBezTo>
                <a:cubicBezTo>
                  <a:pt x="12" y="38"/>
                  <a:pt x="12" y="38"/>
                  <a:pt x="12" y="38"/>
                </a:cubicBezTo>
                <a:cubicBezTo>
                  <a:pt x="13" y="38"/>
                  <a:pt x="16" y="39"/>
                  <a:pt x="17" y="39"/>
                </a:cubicBezTo>
                <a:cubicBezTo>
                  <a:pt x="20" y="40"/>
                  <a:pt x="23" y="41"/>
                  <a:pt x="26" y="41"/>
                </a:cubicBezTo>
                <a:cubicBezTo>
                  <a:pt x="29" y="41"/>
                  <a:pt x="29" y="41"/>
                  <a:pt x="29" y="41"/>
                </a:cubicBezTo>
                <a:cubicBezTo>
                  <a:pt x="32" y="41"/>
                  <a:pt x="35" y="40"/>
                  <a:pt x="35" y="37"/>
                </a:cubicBezTo>
                <a:cubicBezTo>
                  <a:pt x="35" y="36"/>
                  <a:pt x="34" y="36"/>
                  <a:pt x="34" y="35"/>
                </a:cubicBezTo>
                <a:cubicBezTo>
                  <a:pt x="36" y="35"/>
                  <a:pt x="36" y="33"/>
                  <a:pt x="36" y="32"/>
                </a:cubicBezTo>
                <a:cubicBezTo>
                  <a:pt x="36" y="31"/>
                  <a:pt x="36" y="31"/>
                  <a:pt x="36" y="30"/>
                </a:cubicBezTo>
                <a:cubicBezTo>
                  <a:pt x="37" y="29"/>
                  <a:pt x="37" y="28"/>
                  <a:pt x="37" y="27"/>
                </a:cubicBezTo>
                <a:cubicBezTo>
                  <a:pt x="37" y="26"/>
                  <a:pt x="37" y="25"/>
                  <a:pt x="36" y="24"/>
                </a:cubicBezTo>
                <a:cubicBezTo>
                  <a:pt x="37" y="24"/>
                  <a:pt x="38" y="22"/>
                  <a:pt x="38" y="21"/>
                </a:cubicBezTo>
                <a:cubicBezTo>
                  <a:pt x="38" y="19"/>
                  <a:pt x="36" y="17"/>
                  <a:pt x="35" y="17"/>
                </a:cubicBezTo>
                <a:close/>
              </a:path>
            </a:pathLst>
          </a:custGeom>
          <a:solidFill>
            <a:srgbClr val="1A237E">
              <a:alpha val="20000"/>
            </a:srgbClr>
          </a:solidFill>
          <a:ln>
            <a:noFill/>
          </a:ln>
          <a:extLst/>
        </p:spPr>
        <p:txBody>
          <a:bodyPr vert="horz" wrap="square" lIns="104235" tIns="52118" rIns="104235" bIns="52118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="" xmlns:p14="http://schemas.microsoft.com/office/powerpoint/2010/main" val="1096628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12842" y="741438"/>
            <a:ext cx="10679158" cy="6832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6859" tIns="53430" rIns="106859" bIns="5343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600" b="1" dirty="0" smtClean="0">
                <a:gradFill>
                  <a:gsLst>
                    <a:gs pos="97000">
                      <a:srgbClr val="00BBD4"/>
                    </a:gs>
                    <a:gs pos="0">
                      <a:srgbClr val="673BB7"/>
                    </a:gs>
                  </a:gsLst>
                  <a:lin ang="480000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 ЧЕГО НАЧНЕТСЯ ОБУЧЕНИЕ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155861" y="114300"/>
            <a:ext cx="11854543" cy="6515100"/>
          </a:xfrm>
          <a:custGeom>
            <a:avLst/>
            <a:gdLst>
              <a:gd name="connsiteX0" fmla="*/ 326572 w 11854543"/>
              <a:gd name="connsiteY0" fmla="*/ 293914 h 6515100"/>
              <a:gd name="connsiteX1" fmla="*/ 326572 w 11854543"/>
              <a:gd name="connsiteY1" fmla="*/ 6237514 h 6515100"/>
              <a:gd name="connsiteX2" fmla="*/ 11576956 w 11854543"/>
              <a:gd name="connsiteY2" fmla="*/ 6237514 h 6515100"/>
              <a:gd name="connsiteX3" fmla="*/ 11576956 w 11854543"/>
              <a:gd name="connsiteY3" fmla="*/ 293914 h 6515100"/>
              <a:gd name="connsiteX4" fmla="*/ 0 w 11854543"/>
              <a:gd name="connsiteY4" fmla="*/ 0 h 6515100"/>
              <a:gd name="connsiteX5" fmla="*/ 11854543 w 11854543"/>
              <a:gd name="connsiteY5" fmla="*/ 0 h 6515100"/>
              <a:gd name="connsiteX6" fmla="*/ 11854543 w 11854543"/>
              <a:gd name="connsiteY6" fmla="*/ 6515100 h 6515100"/>
              <a:gd name="connsiteX7" fmla="*/ 0 w 11854543"/>
              <a:gd name="connsiteY7" fmla="*/ 6515100 h 651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54543" h="6515100">
                <a:moveTo>
                  <a:pt x="326572" y="293914"/>
                </a:moveTo>
                <a:lnTo>
                  <a:pt x="326572" y="6237514"/>
                </a:lnTo>
                <a:lnTo>
                  <a:pt x="11576956" y="6237514"/>
                </a:lnTo>
                <a:lnTo>
                  <a:pt x="11576956" y="293914"/>
                </a:lnTo>
                <a:close/>
                <a:moveTo>
                  <a:pt x="0" y="0"/>
                </a:moveTo>
                <a:lnTo>
                  <a:pt x="11854543" y="0"/>
                </a:lnTo>
                <a:lnTo>
                  <a:pt x="11854543" y="6515100"/>
                </a:lnTo>
                <a:lnTo>
                  <a:pt x="0" y="6515100"/>
                </a:lnTo>
                <a:close/>
              </a:path>
            </a:pathLst>
          </a:custGeom>
          <a:gradFill>
            <a:gsLst>
              <a:gs pos="97000">
                <a:srgbClr val="9C28B1"/>
              </a:gs>
              <a:gs pos="0">
                <a:srgbClr val="E91D6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089419" y="1649186"/>
            <a:ext cx="10123715" cy="4286095"/>
          </a:xfrm>
          <a:prstGeom prst="rect">
            <a:avLst/>
          </a:prstGeom>
          <a:gradFill>
            <a:gsLst>
              <a:gs pos="45942">
                <a:srgbClr val="C32289"/>
              </a:gs>
              <a:gs pos="93000">
                <a:srgbClr val="9C28B1"/>
              </a:gs>
              <a:gs pos="0">
                <a:srgbClr val="E91D6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0000"/>
            <a:r>
              <a:rPr lang="ru-RU" sz="24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Переезд в Военный университет (г</a:t>
            </a:r>
            <a:r>
              <a:rPr lang="ru-RU" sz="2400" b="1" dirty="0" smtClean="0">
                <a:solidFill>
                  <a:schemeClr val="accent6">
                    <a:lumMod val="40000"/>
                    <a:lumOff val="60000"/>
                  </a:schemeClr>
                </a:solidFill>
              </a:rPr>
              <a:t>. Москва</a:t>
            </a:r>
            <a:r>
              <a:rPr lang="ru-RU" sz="24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, ул. Бол. Садовая, 14)</a:t>
            </a:r>
          </a:p>
          <a:p>
            <a:pPr marL="540000"/>
            <a:r>
              <a:rPr lang="ru-RU" sz="2400" i="1" dirty="0" smtClean="0"/>
              <a:t> </a:t>
            </a:r>
            <a:endParaRPr lang="ru-RU" sz="2400" i="1" dirty="0"/>
          </a:p>
          <a:p>
            <a:pPr marL="54000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лучае успешного завершения КМБ в торжественной обстановке Вы принесете военную присягу на верность Российской Федерации и ее народу и приступите к обучению в Военном университете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оенная выслуга как и стаж работы будет отсчитываться с момента зачисления </a:t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1 курс (в отличие от гражданских вузов и военных учебных центров). </a:t>
            </a:r>
          </a:p>
          <a:p>
            <a:pPr marL="54000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 окончании Военного университета она будет составлять 5 лет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аждому курсанту на период обучения выдается ноутбук для подготовки к занятиям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eform 192"/>
          <p:cNvSpPr>
            <a:spLocks noEditPoints="1"/>
          </p:cNvSpPr>
          <p:nvPr/>
        </p:nvSpPr>
        <p:spPr bwMode="auto">
          <a:xfrm rot="19709132">
            <a:off x="7506202" y="43784"/>
            <a:ext cx="4561110" cy="3210804"/>
          </a:xfrm>
          <a:custGeom>
            <a:avLst/>
            <a:gdLst>
              <a:gd name="T0" fmla="*/ 37 w 47"/>
              <a:gd name="T1" fmla="*/ 14 h 29"/>
              <a:gd name="T2" fmla="*/ 42 w 47"/>
              <a:gd name="T3" fmla="*/ 4 h 29"/>
              <a:gd name="T4" fmla="*/ 45 w 47"/>
              <a:gd name="T5" fmla="*/ 4 h 29"/>
              <a:gd name="T6" fmla="*/ 36 w 47"/>
              <a:gd name="T7" fmla="*/ 0 h 29"/>
              <a:gd name="T8" fmla="*/ 13 w 47"/>
              <a:gd name="T9" fmla="*/ 0 h 29"/>
              <a:gd name="T10" fmla="*/ 0 w 47"/>
              <a:gd name="T11" fmla="*/ 14 h 29"/>
              <a:gd name="T12" fmla="*/ 13 w 47"/>
              <a:gd name="T13" fmla="*/ 29 h 29"/>
              <a:gd name="T14" fmla="*/ 36 w 47"/>
              <a:gd name="T15" fmla="*/ 29 h 29"/>
              <a:gd name="T16" fmla="*/ 45 w 47"/>
              <a:gd name="T17" fmla="*/ 25 h 29"/>
              <a:gd name="T18" fmla="*/ 42 w 47"/>
              <a:gd name="T19" fmla="*/ 25 h 29"/>
              <a:gd name="T20" fmla="*/ 37 w 47"/>
              <a:gd name="T21" fmla="*/ 14 h 29"/>
              <a:gd name="T22" fmla="*/ 30 w 47"/>
              <a:gd name="T23" fmla="*/ 19 h 29"/>
              <a:gd name="T24" fmla="*/ 29 w 47"/>
              <a:gd name="T25" fmla="*/ 19 h 29"/>
              <a:gd name="T26" fmla="*/ 22 w 47"/>
              <a:gd name="T27" fmla="*/ 16 h 29"/>
              <a:gd name="T28" fmla="*/ 21 w 47"/>
              <a:gd name="T29" fmla="*/ 18 h 29"/>
              <a:gd name="T30" fmla="*/ 18 w 47"/>
              <a:gd name="T31" fmla="*/ 19 h 29"/>
              <a:gd name="T32" fmla="*/ 9 w 47"/>
              <a:gd name="T33" fmla="*/ 12 h 29"/>
              <a:gd name="T34" fmla="*/ 9 w 47"/>
              <a:gd name="T35" fmla="*/ 10 h 29"/>
              <a:gd name="T36" fmla="*/ 10 w 47"/>
              <a:gd name="T37" fmla="*/ 10 h 29"/>
              <a:gd name="T38" fmla="*/ 17 w 47"/>
              <a:gd name="T39" fmla="*/ 13 h 29"/>
              <a:gd name="T40" fmla="*/ 18 w 47"/>
              <a:gd name="T41" fmla="*/ 11 h 29"/>
              <a:gd name="T42" fmla="*/ 21 w 47"/>
              <a:gd name="T43" fmla="*/ 10 h 29"/>
              <a:gd name="T44" fmla="*/ 30 w 47"/>
              <a:gd name="T45" fmla="*/ 17 h 29"/>
              <a:gd name="T46" fmla="*/ 30 w 47"/>
              <a:gd name="T47" fmla="*/ 19 h 29"/>
              <a:gd name="T48" fmla="*/ 45 w 47"/>
              <a:gd name="T49" fmla="*/ 10 h 29"/>
              <a:gd name="T50" fmla="*/ 43 w 47"/>
              <a:gd name="T51" fmla="*/ 10 h 29"/>
              <a:gd name="T52" fmla="*/ 40 w 47"/>
              <a:gd name="T53" fmla="*/ 14 h 29"/>
              <a:gd name="T54" fmla="*/ 43 w 47"/>
              <a:gd name="T55" fmla="*/ 19 h 29"/>
              <a:gd name="T56" fmla="*/ 45 w 47"/>
              <a:gd name="T57" fmla="*/ 19 h 29"/>
              <a:gd name="T58" fmla="*/ 47 w 47"/>
              <a:gd name="T59" fmla="*/ 14 h 29"/>
              <a:gd name="T60" fmla="*/ 45 w 47"/>
              <a:gd name="T61" fmla="*/ 1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7" h="29">
                <a:moveTo>
                  <a:pt x="37" y="14"/>
                </a:moveTo>
                <a:cubicBezTo>
                  <a:pt x="37" y="8"/>
                  <a:pt x="40" y="4"/>
                  <a:pt x="42" y="4"/>
                </a:cubicBezTo>
                <a:cubicBezTo>
                  <a:pt x="43" y="4"/>
                  <a:pt x="45" y="4"/>
                  <a:pt x="45" y="4"/>
                </a:cubicBezTo>
                <a:cubicBezTo>
                  <a:pt x="43" y="2"/>
                  <a:pt x="42" y="0"/>
                  <a:pt x="36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4" y="0"/>
                  <a:pt x="0" y="8"/>
                  <a:pt x="0" y="14"/>
                </a:cubicBezTo>
                <a:cubicBezTo>
                  <a:pt x="0" y="20"/>
                  <a:pt x="4" y="29"/>
                  <a:pt x="13" y="29"/>
                </a:cubicBezTo>
                <a:cubicBezTo>
                  <a:pt x="36" y="29"/>
                  <a:pt x="36" y="29"/>
                  <a:pt x="36" y="29"/>
                </a:cubicBezTo>
                <a:cubicBezTo>
                  <a:pt x="42" y="29"/>
                  <a:pt x="43" y="27"/>
                  <a:pt x="45" y="25"/>
                </a:cubicBezTo>
                <a:cubicBezTo>
                  <a:pt x="45" y="25"/>
                  <a:pt x="44" y="25"/>
                  <a:pt x="42" y="25"/>
                </a:cubicBezTo>
                <a:cubicBezTo>
                  <a:pt x="40" y="25"/>
                  <a:pt x="37" y="21"/>
                  <a:pt x="37" y="14"/>
                </a:cubicBezTo>
                <a:close/>
                <a:moveTo>
                  <a:pt x="30" y="19"/>
                </a:moveTo>
                <a:cubicBezTo>
                  <a:pt x="30" y="19"/>
                  <a:pt x="29" y="19"/>
                  <a:pt x="29" y="19"/>
                </a:cubicBezTo>
                <a:cubicBezTo>
                  <a:pt x="22" y="16"/>
                  <a:pt x="22" y="16"/>
                  <a:pt x="22" y="16"/>
                </a:cubicBezTo>
                <a:cubicBezTo>
                  <a:pt x="22" y="16"/>
                  <a:pt x="21" y="17"/>
                  <a:pt x="21" y="18"/>
                </a:cubicBezTo>
                <a:cubicBezTo>
                  <a:pt x="20" y="19"/>
                  <a:pt x="20" y="21"/>
                  <a:pt x="18" y="19"/>
                </a:cubicBezTo>
                <a:cubicBezTo>
                  <a:pt x="16" y="18"/>
                  <a:pt x="9" y="12"/>
                  <a:pt x="9" y="12"/>
                </a:cubicBezTo>
                <a:cubicBezTo>
                  <a:pt x="9" y="12"/>
                  <a:pt x="8" y="11"/>
                  <a:pt x="9" y="10"/>
                </a:cubicBezTo>
                <a:cubicBezTo>
                  <a:pt x="9" y="10"/>
                  <a:pt x="10" y="10"/>
                  <a:pt x="10" y="10"/>
                </a:cubicBezTo>
                <a:cubicBezTo>
                  <a:pt x="17" y="13"/>
                  <a:pt x="17" y="13"/>
                  <a:pt x="17" y="13"/>
                </a:cubicBezTo>
                <a:cubicBezTo>
                  <a:pt x="17" y="13"/>
                  <a:pt x="18" y="12"/>
                  <a:pt x="18" y="11"/>
                </a:cubicBezTo>
                <a:cubicBezTo>
                  <a:pt x="19" y="10"/>
                  <a:pt x="19" y="8"/>
                  <a:pt x="21" y="10"/>
                </a:cubicBezTo>
                <a:cubicBezTo>
                  <a:pt x="23" y="11"/>
                  <a:pt x="30" y="17"/>
                  <a:pt x="30" y="17"/>
                </a:cubicBezTo>
                <a:cubicBezTo>
                  <a:pt x="30" y="17"/>
                  <a:pt x="31" y="18"/>
                  <a:pt x="30" y="19"/>
                </a:cubicBezTo>
                <a:close/>
                <a:moveTo>
                  <a:pt x="45" y="10"/>
                </a:moveTo>
                <a:cubicBezTo>
                  <a:pt x="43" y="10"/>
                  <a:pt x="43" y="10"/>
                  <a:pt x="43" y="10"/>
                </a:cubicBezTo>
                <a:cubicBezTo>
                  <a:pt x="42" y="10"/>
                  <a:pt x="40" y="11"/>
                  <a:pt x="40" y="14"/>
                </a:cubicBezTo>
                <a:cubicBezTo>
                  <a:pt x="40" y="17"/>
                  <a:pt x="42" y="19"/>
                  <a:pt x="43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6" y="19"/>
                  <a:pt x="47" y="17"/>
                  <a:pt x="47" y="14"/>
                </a:cubicBezTo>
                <a:cubicBezTo>
                  <a:pt x="47" y="11"/>
                  <a:pt x="46" y="10"/>
                  <a:pt x="45" y="10"/>
                </a:cubicBezTo>
                <a:close/>
              </a:path>
            </a:pathLst>
          </a:custGeom>
          <a:solidFill>
            <a:srgbClr val="1A237E">
              <a:alpha val="20000"/>
            </a:srgbClr>
          </a:solidFill>
          <a:ln>
            <a:noFill/>
          </a:ln>
          <a:extLst/>
        </p:spPr>
        <p:txBody>
          <a:bodyPr vert="horz" wrap="square" lIns="104235" tIns="52118" rIns="104235" bIns="52118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" name="Freeform 192"/>
          <p:cNvSpPr>
            <a:spLocks noEditPoints="1"/>
          </p:cNvSpPr>
          <p:nvPr/>
        </p:nvSpPr>
        <p:spPr bwMode="auto">
          <a:xfrm rot="19709132">
            <a:off x="-1750847" y="5023998"/>
            <a:ext cx="4561110" cy="3210804"/>
          </a:xfrm>
          <a:custGeom>
            <a:avLst/>
            <a:gdLst>
              <a:gd name="T0" fmla="*/ 37 w 47"/>
              <a:gd name="T1" fmla="*/ 14 h 29"/>
              <a:gd name="T2" fmla="*/ 42 w 47"/>
              <a:gd name="T3" fmla="*/ 4 h 29"/>
              <a:gd name="T4" fmla="*/ 45 w 47"/>
              <a:gd name="T5" fmla="*/ 4 h 29"/>
              <a:gd name="T6" fmla="*/ 36 w 47"/>
              <a:gd name="T7" fmla="*/ 0 h 29"/>
              <a:gd name="T8" fmla="*/ 13 w 47"/>
              <a:gd name="T9" fmla="*/ 0 h 29"/>
              <a:gd name="T10" fmla="*/ 0 w 47"/>
              <a:gd name="T11" fmla="*/ 14 h 29"/>
              <a:gd name="T12" fmla="*/ 13 w 47"/>
              <a:gd name="T13" fmla="*/ 29 h 29"/>
              <a:gd name="T14" fmla="*/ 36 w 47"/>
              <a:gd name="T15" fmla="*/ 29 h 29"/>
              <a:gd name="T16" fmla="*/ 45 w 47"/>
              <a:gd name="T17" fmla="*/ 25 h 29"/>
              <a:gd name="T18" fmla="*/ 42 w 47"/>
              <a:gd name="T19" fmla="*/ 25 h 29"/>
              <a:gd name="T20" fmla="*/ 37 w 47"/>
              <a:gd name="T21" fmla="*/ 14 h 29"/>
              <a:gd name="T22" fmla="*/ 30 w 47"/>
              <a:gd name="T23" fmla="*/ 19 h 29"/>
              <a:gd name="T24" fmla="*/ 29 w 47"/>
              <a:gd name="T25" fmla="*/ 19 h 29"/>
              <a:gd name="T26" fmla="*/ 22 w 47"/>
              <a:gd name="T27" fmla="*/ 16 h 29"/>
              <a:gd name="T28" fmla="*/ 21 w 47"/>
              <a:gd name="T29" fmla="*/ 18 h 29"/>
              <a:gd name="T30" fmla="*/ 18 w 47"/>
              <a:gd name="T31" fmla="*/ 19 h 29"/>
              <a:gd name="T32" fmla="*/ 9 w 47"/>
              <a:gd name="T33" fmla="*/ 12 h 29"/>
              <a:gd name="T34" fmla="*/ 9 w 47"/>
              <a:gd name="T35" fmla="*/ 10 h 29"/>
              <a:gd name="T36" fmla="*/ 10 w 47"/>
              <a:gd name="T37" fmla="*/ 10 h 29"/>
              <a:gd name="T38" fmla="*/ 17 w 47"/>
              <a:gd name="T39" fmla="*/ 13 h 29"/>
              <a:gd name="T40" fmla="*/ 18 w 47"/>
              <a:gd name="T41" fmla="*/ 11 h 29"/>
              <a:gd name="T42" fmla="*/ 21 w 47"/>
              <a:gd name="T43" fmla="*/ 10 h 29"/>
              <a:gd name="T44" fmla="*/ 30 w 47"/>
              <a:gd name="T45" fmla="*/ 17 h 29"/>
              <a:gd name="T46" fmla="*/ 30 w 47"/>
              <a:gd name="T47" fmla="*/ 19 h 29"/>
              <a:gd name="T48" fmla="*/ 45 w 47"/>
              <a:gd name="T49" fmla="*/ 10 h 29"/>
              <a:gd name="T50" fmla="*/ 43 w 47"/>
              <a:gd name="T51" fmla="*/ 10 h 29"/>
              <a:gd name="T52" fmla="*/ 40 w 47"/>
              <a:gd name="T53" fmla="*/ 14 h 29"/>
              <a:gd name="T54" fmla="*/ 43 w 47"/>
              <a:gd name="T55" fmla="*/ 19 h 29"/>
              <a:gd name="T56" fmla="*/ 45 w 47"/>
              <a:gd name="T57" fmla="*/ 19 h 29"/>
              <a:gd name="T58" fmla="*/ 47 w 47"/>
              <a:gd name="T59" fmla="*/ 14 h 29"/>
              <a:gd name="T60" fmla="*/ 45 w 47"/>
              <a:gd name="T61" fmla="*/ 1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7" h="29">
                <a:moveTo>
                  <a:pt x="37" y="14"/>
                </a:moveTo>
                <a:cubicBezTo>
                  <a:pt x="37" y="8"/>
                  <a:pt x="40" y="4"/>
                  <a:pt x="42" y="4"/>
                </a:cubicBezTo>
                <a:cubicBezTo>
                  <a:pt x="43" y="4"/>
                  <a:pt x="45" y="4"/>
                  <a:pt x="45" y="4"/>
                </a:cubicBezTo>
                <a:cubicBezTo>
                  <a:pt x="43" y="2"/>
                  <a:pt x="42" y="0"/>
                  <a:pt x="36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4" y="0"/>
                  <a:pt x="0" y="8"/>
                  <a:pt x="0" y="14"/>
                </a:cubicBezTo>
                <a:cubicBezTo>
                  <a:pt x="0" y="20"/>
                  <a:pt x="4" y="29"/>
                  <a:pt x="13" y="29"/>
                </a:cubicBezTo>
                <a:cubicBezTo>
                  <a:pt x="36" y="29"/>
                  <a:pt x="36" y="29"/>
                  <a:pt x="36" y="29"/>
                </a:cubicBezTo>
                <a:cubicBezTo>
                  <a:pt x="42" y="29"/>
                  <a:pt x="43" y="27"/>
                  <a:pt x="45" y="25"/>
                </a:cubicBezTo>
                <a:cubicBezTo>
                  <a:pt x="45" y="25"/>
                  <a:pt x="44" y="25"/>
                  <a:pt x="42" y="25"/>
                </a:cubicBezTo>
                <a:cubicBezTo>
                  <a:pt x="40" y="25"/>
                  <a:pt x="37" y="21"/>
                  <a:pt x="37" y="14"/>
                </a:cubicBezTo>
                <a:close/>
                <a:moveTo>
                  <a:pt x="30" y="19"/>
                </a:moveTo>
                <a:cubicBezTo>
                  <a:pt x="30" y="19"/>
                  <a:pt x="29" y="19"/>
                  <a:pt x="29" y="19"/>
                </a:cubicBezTo>
                <a:cubicBezTo>
                  <a:pt x="22" y="16"/>
                  <a:pt x="22" y="16"/>
                  <a:pt x="22" y="16"/>
                </a:cubicBezTo>
                <a:cubicBezTo>
                  <a:pt x="22" y="16"/>
                  <a:pt x="21" y="17"/>
                  <a:pt x="21" y="18"/>
                </a:cubicBezTo>
                <a:cubicBezTo>
                  <a:pt x="20" y="19"/>
                  <a:pt x="20" y="21"/>
                  <a:pt x="18" y="19"/>
                </a:cubicBezTo>
                <a:cubicBezTo>
                  <a:pt x="16" y="18"/>
                  <a:pt x="9" y="12"/>
                  <a:pt x="9" y="12"/>
                </a:cubicBezTo>
                <a:cubicBezTo>
                  <a:pt x="9" y="12"/>
                  <a:pt x="8" y="11"/>
                  <a:pt x="9" y="10"/>
                </a:cubicBezTo>
                <a:cubicBezTo>
                  <a:pt x="9" y="10"/>
                  <a:pt x="10" y="10"/>
                  <a:pt x="10" y="10"/>
                </a:cubicBezTo>
                <a:cubicBezTo>
                  <a:pt x="17" y="13"/>
                  <a:pt x="17" y="13"/>
                  <a:pt x="17" y="13"/>
                </a:cubicBezTo>
                <a:cubicBezTo>
                  <a:pt x="17" y="13"/>
                  <a:pt x="18" y="12"/>
                  <a:pt x="18" y="11"/>
                </a:cubicBezTo>
                <a:cubicBezTo>
                  <a:pt x="19" y="10"/>
                  <a:pt x="19" y="8"/>
                  <a:pt x="21" y="10"/>
                </a:cubicBezTo>
                <a:cubicBezTo>
                  <a:pt x="23" y="11"/>
                  <a:pt x="30" y="17"/>
                  <a:pt x="30" y="17"/>
                </a:cubicBezTo>
                <a:cubicBezTo>
                  <a:pt x="30" y="17"/>
                  <a:pt x="31" y="18"/>
                  <a:pt x="30" y="19"/>
                </a:cubicBezTo>
                <a:close/>
                <a:moveTo>
                  <a:pt x="45" y="10"/>
                </a:moveTo>
                <a:cubicBezTo>
                  <a:pt x="43" y="10"/>
                  <a:pt x="43" y="10"/>
                  <a:pt x="43" y="10"/>
                </a:cubicBezTo>
                <a:cubicBezTo>
                  <a:pt x="42" y="10"/>
                  <a:pt x="40" y="11"/>
                  <a:pt x="40" y="14"/>
                </a:cubicBezTo>
                <a:cubicBezTo>
                  <a:pt x="40" y="17"/>
                  <a:pt x="42" y="19"/>
                  <a:pt x="43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6" y="19"/>
                  <a:pt x="47" y="17"/>
                  <a:pt x="47" y="14"/>
                </a:cubicBezTo>
                <a:cubicBezTo>
                  <a:pt x="47" y="11"/>
                  <a:pt x="46" y="10"/>
                  <a:pt x="45" y="10"/>
                </a:cubicBezTo>
                <a:close/>
              </a:path>
            </a:pathLst>
          </a:custGeom>
          <a:solidFill>
            <a:srgbClr val="1A237E">
              <a:alpha val="20000"/>
            </a:srgbClr>
          </a:solidFill>
          <a:ln>
            <a:noFill/>
          </a:ln>
          <a:extLst/>
        </p:spPr>
        <p:txBody>
          <a:bodyPr vert="horz" wrap="square" lIns="104235" tIns="52118" rIns="104235" bIns="52118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="" xmlns:p14="http://schemas.microsoft.com/office/powerpoint/2010/main" val="3331333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417095"/>
            <a:ext cx="12192000" cy="7523747"/>
          </a:xfrm>
          <a:prstGeom prst="rect">
            <a:avLst/>
          </a:prstGeom>
          <a:blipFill dpi="0" rotWithShape="1">
            <a:blip r:embed="rId4">
              <a:alphaModFix amt="53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D9891D4-1EC1-421D-BA1E-3EC0428E8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38" y="1857"/>
          <a:ext cx="1857" cy="1857"/>
        </p:xfrm>
        <a:graphic>
          <a:graphicData uri="http://schemas.openxmlformats.org/presentationml/2006/ole">
            <p:oleObj spid="_x0000_s17453" name="think-cell Slide" r:id="rId5" imgW="360" imgH="360" progId="">
              <p:embed/>
            </p:oleObj>
          </a:graphicData>
        </a:graphic>
      </p:graphicFrame>
      <p:sp>
        <p:nvSpPr>
          <p:cNvPr id="3" name="Rectangle 2"/>
          <p:cNvSpPr/>
          <p:nvPr/>
        </p:nvSpPr>
        <p:spPr>
          <a:xfrm>
            <a:off x="519219" y="2697494"/>
            <a:ext cx="10474433" cy="1570649"/>
          </a:xfrm>
          <a:prstGeom prst="rect">
            <a:avLst/>
          </a:prstGeom>
          <a:noFill/>
          <a:ln w="12700">
            <a:noFill/>
          </a:ln>
          <a:effectLst>
            <a:outerShdw blurRad="2032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690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5000" b="1" dirty="0">
                <a:solidFill>
                  <a:schemeClr val="accent4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ИЕ </a:t>
            </a:r>
            <a:r>
              <a:rPr lang="ru-RU" sz="5000" b="1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СЦИПЛИНЫ </a:t>
            </a:r>
            <a:r>
              <a:rPr lang="ru-RU" sz="5000" b="1" dirty="0">
                <a:solidFill>
                  <a:schemeClr val="accent4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ОСВОИТЕ В ПРОЦЕССЕ ОБУЧЕНИЯ В ВОЕННОМ </a:t>
            </a:r>
            <a:r>
              <a:rPr lang="ru-RU" sz="5000" b="1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ВЕРСИТЕТЕ?</a:t>
            </a:r>
            <a:endParaRPr lang="ru-RU" sz="5000" b="1" dirty="0">
              <a:solidFill>
                <a:schemeClr val="accent4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1821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66</TotalTime>
  <Words>939</Words>
  <Application>Microsoft Office PowerPoint</Application>
  <PresentationFormat>Произвольный</PresentationFormat>
  <Paragraphs>257</Paragraphs>
  <Slides>25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27" baseType="lpstr">
      <vt:lpstr>Тема Offic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</vt:vector>
  </TitlesOfParts>
  <Company>SPecialiST RePac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пециальность: Военная журналистика</dc:title>
  <dc:creator>Кильдюшкин А.С.</dc:creator>
  <cp:lastModifiedBy>Пользователь Windows</cp:lastModifiedBy>
  <cp:revision>241</cp:revision>
  <dcterms:created xsi:type="dcterms:W3CDTF">2019-12-04T09:40:39Z</dcterms:created>
  <dcterms:modified xsi:type="dcterms:W3CDTF">2020-01-27T05:52:07Z</dcterms:modified>
</cp:coreProperties>
</file>